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handoutMasterIdLst>
    <p:handoutMasterId r:id="rId28"/>
  </p:handoutMasterIdLst>
  <p:sldIdLst>
    <p:sldId id="322" r:id="rId2"/>
    <p:sldId id="297" r:id="rId3"/>
    <p:sldId id="323" r:id="rId4"/>
    <p:sldId id="324" r:id="rId5"/>
    <p:sldId id="291" r:id="rId6"/>
    <p:sldId id="320" r:id="rId7"/>
    <p:sldId id="315" r:id="rId8"/>
    <p:sldId id="298" r:id="rId9"/>
    <p:sldId id="309" r:id="rId10"/>
    <p:sldId id="296" r:id="rId11"/>
    <p:sldId id="299" r:id="rId12"/>
    <p:sldId id="310" r:id="rId13"/>
    <p:sldId id="301" r:id="rId14"/>
    <p:sldId id="307" r:id="rId15"/>
    <p:sldId id="303" r:id="rId16"/>
    <p:sldId id="304" r:id="rId17"/>
    <p:sldId id="308" r:id="rId18"/>
    <p:sldId id="319" r:id="rId19"/>
    <p:sldId id="305" r:id="rId20"/>
    <p:sldId id="321" r:id="rId21"/>
    <p:sldId id="311" r:id="rId22"/>
    <p:sldId id="317" r:id="rId23"/>
    <p:sldId id="318" r:id="rId24"/>
    <p:sldId id="312" r:id="rId25"/>
    <p:sldId id="313" r:id="rId26"/>
    <p:sldId id="306" r:id="rId27"/>
  </p:sldIdLst>
  <p:sldSz cx="9144000" cy="6858000" type="screen4x3"/>
  <p:notesSz cx="6797675" cy="9872663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A92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205" autoAdjust="0"/>
    <p:restoredTop sz="94660"/>
  </p:normalViewPr>
  <p:slideViewPr>
    <p:cSldViewPr>
      <p:cViewPr>
        <p:scale>
          <a:sx n="100" d="100"/>
          <a:sy n="100" d="100"/>
        </p:scale>
        <p:origin x="36" y="-21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5FFB459-BDE0-4C4A-845F-724C4D833879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BD0D9A70-9F74-47B1-9B13-E90AD481EECC}">
      <dgm:prSet phldrT="[Texte]" custT="1"/>
      <dgm:spPr>
        <a:solidFill>
          <a:srgbClr val="00B0F0"/>
        </a:solidFill>
        <a:ln>
          <a:noFill/>
        </a:ln>
      </dgm:spPr>
      <dgm:t>
        <a:bodyPr/>
        <a:lstStyle/>
        <a:p>
          <a:r>
            <a:rPr lang="fr-FR" sz="1200" dirty="0" smtClean="0"/>
            <a:t>Politique  de gestion des données (catégorie)</a:t>
          </a:r>
          <a:endParaRPr lang="fr-FR" sz="1200" dirty="0"/>
        </a:p>
      </dgm:t>
    </dgm:pt>
    <dgm:pt modelId="{8F0190A3-9F91-4049-B8CE-B6E388350638}" type="parTrans" cxnId="{A79A0B4A-D1AC-47B0-A1C1-5CC671BA246D}">
      <dgm:prSet/>
      <dgm:spPr/>
      <dgm:t>
        <a:bodyPr/>
        <a:lstStyle/>
        <a:p>
          <a:endParaRPr lang="fr-FR"/>
        </a:p>
      </dgm:t>
    </dgm:pt>
    <dgm:pt modelId="{0E1DA99B-FEDA-49F6-9388-EDDB315D8FD4}" type="sibTrans" cxnId="{A79A0B4A-D1AC-47B0-A1C1-5CC671BA246D}">
      <dgm:prSet/>
      <dgm:spPr/>
      <dgm:t>
        <a:bodyPr/>
        <a:lstStyle/>
        <a:p>
          <a:endParaRPr lang="fr-FR"/>
        </a:p>
      </dgm:t>
    </dgm:pt>
    <dgm:pt modelId="{3E29C919-EBA2-4B5F-92EA-E8F9205882AA}">
      <dgm:prSet phldrT="[Texte]" custT="1"/>
      <dgm:spPr>
        <a:solidFill>
          <a:srgbClr val="00B0F0"/>
        </a:solidFill>
      </dgm:spPr>
      <dgm:t>
        <a:bodyPr/>
        <a:lstStyle/>
        <a:p>
          <a:r>
            <a:rPr lang="fr-FR" sz="1200" dirty="0" smtClean="0"/>
            <a:t>Finalité du traitement </a:t>
          </a:r>
        </a:p>
      </dgm:t>
    </dgm:pt>
    <dgm:pt modelId="{F722F98F-78B5-4ABD-AA96-CD6B9808F374}" type="parTrans" cxnId="{B0EF587F-291B-4395-A825-9D1C4CE072C7}">
      <dgm:prSet/>
      <dgm:spPr/>
      <dgm:t>
        <a:bodyPr/>
        <a:lstStyle/>
        <a:p>
          <a:endParaRPr lang="fr-FR"/>
        </a:p>
      </dgm:t>
    </dgm:pt>
    <dgm:pt modelId="{14F7E6B2-B5C3-4506-9D06-57D7A49BC2BC}" type="sibTrans" cxnId="{B0EF587F-291B-4395-A825-9D1C4CE072C7}">
      <dgm:prSet/>
      <dgm:spPr/>
      <dgm:t>
        <a:bodyPr/>
        <a:lstStyle/>
        <a:p>
          <a:endParaRPr lang="fr-FR"/>
        </a:p>
      </dgm:t>
    </dgm:pt>
    <dgm:pt modelId="{FA1A8CA0-166E-4793-9FB5-1D89FEEDFED8}">
      <dgm:prSet phldrT="[Texte]" custT="1"/>
      <dgm:spPr>
        <a:solidFill>
          <a:srgbClr val="00B0F0"/>
        </a:solidFill>
      </dgm:spPr>
      <dgm:t>
        <a:bodyPr/>
        <a:lstStyle/>
        <a:p>
          <a:r>
            <a:rPr lang="fr-FR" sz="1200" dirty="0" smtClean="0"/>
            <a:t>Cycle de vie des données</a:t>
          </a:r>
        </a:p>
      </dgm:t>
    </dgm:pt>
    <dgm:pt modelId="{9BE39A37-4630-46B8-BD3B-02C91EDC930F}" type="parTrans" cxnId="{4BB4FA7D-9FEE-4D6A-82AF-A1BBDBF256AD}">
      <dgm:prSet/>
      <dgm:spPr/>
      <dgm:t>
        <a:bodyPr/>
        <a:lstStyle/>
        <a:p>
          <a:endParaRPr lang="fr-FR"/>
        </a:p>
      </dgm:t>
    </dgm:pt>
    <dgm:pt modelId="{CD9E6D59-F255-4ADB-8C38-892B9C3F47F3}" type="sibTrans" cxnId="{4BB4FA7D-9FEE-4D6A-82AF-A1BBDBF256AD}">
      <dgm:prSet/>
      <dgm:spPr/>
      <dgm:t>
        <a:bodyPr/>
        <a:lstStyle/>
        <a:p>
          <a:endParaRPr lang="fr-FR"/>
        </a:p>
      </dgm:t>
    </dgm:pt>
    <dgm:pt modelId="{1B8670EF-9C6F-4A0C-B3E6-2474D9923FC7}">
      <dgm:prSet custT="1"/>
      <dgm:spPr>
        <a:solidFill>
          <a:srgbClr val="00B0F0"/>
        </a:solidFill>
      </dgm:spPr>
      <dgm:t>
        <a:bodyPr/>
        <a:lstStyle/>
        <a:p>
          <a:r>
            <a:rPr lang="fr-FR" sz="1400" dirty="0" smtClean="0"/>
            <a:t>Gérer les usages</a:t>
          </a:r>
          <a:endParaRPr lang="fr-BE" sz="1400" dirty="0"/>
        </a:p>
      </dgm:t>
    </dgm:pt>
    <dgm:pt modelId="{81966D1F-5B9B-4CF4-ACE7-837949D4A886}" type="parTrans" cxnId="{F69FA146-33CE-4173-A172-F283F1432CF5}">
      <dgm:prSet/>
      <dgm:spPr/>
      <dgm:t>
        <a:bodyPr/>
        <a:lstStyle/>
        <a:p>
          <a:endParaRPr lang="fr-BE"/>
        </a:p>
      </dgm:t>
    </dgm:pt>
    <dgm:pt modelId="{24DB9AAE-5BC4-4BC2-A317-C8469B3F6AD1}" type="sibTrans" cxnId="{F69FA146-33CE-4173-A172-F283F1432CF5}">
      <dgm:prSet/>
      <dgm:spPr/>
      <dgm:t>
        <a:bodyPr/>
        <a:lstStyle/>
        <a:p>
          <a:endParaRPr lang="fr-BE"/>
        </a:p>
      </dgm:t>
    </dgm:pt>
    <dgm:pt modelId="{A8F177C2-56BD-49F9-BCB1-5E9F3E4E6F85}" type="pres">
      <dgm:prSet presAssocID="{25FFB459-BDE0-4C4A-845F-724C4D833879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fr-BE"/>
        </a:p>
      </dgm:t>
    </dgm:pt>
    <dgm:pt modelId="{64CB180A-A61E-4189-A25E-A0213A3E05FC}" type="pres">
      <dgm:prSet presAssocID="{25FFB459-BDE0-4C4A-845F-724C4D833879}" presName="Name1" presStyleCnt="0"/>
      <dgm:spPr/>
    </dgm:pt>
    <dgm:pt modelId="{21B2D0BF-C437-4DBA-BB85-EF9CF09D35CD}" type="pres">
      <dgm:prSet presAssocID="{25FFB459-BDE0-4C4A-845F-724C4D833879}" presName="cycle" presStyleCnt="0"/>
      <dgm:spPr/>
    </dgm:pt>
    <dgm:pt modelId="{244B40B6-9C2F-4689-8933-18FDDE020483}" type="pres">
      <dgm:prSet presAssocID="{25FFB459-BDE0-4C4A-845F-724C4D833879}" presName="srcNode" presStyleLbl="node1" presStyleIdx="0" presStyleCnt="4"/>
      <dgm:spPr/>
    </dgm:pt>
    <dgm:pt modelId="{EC34EAFA-82B2-4E56-BEE0-F534DA6A3479}" type="pres">
      <dgm:prSet presAssocID="{25FFB459-BDE0-4C4A-845F-724C4D833879}" presName="conn" presStyleLbl="parChTrans1D2" presStyleIdx="0" presStyleCnt="1"/>
      <dgm:spPr/>
      <dgm:t>
        <a:bodyPr/>
        <a:lstStyle/>
        <a:p>
          <a:endParaRPr lang="fr-BE"/>
        </a:p>
      </dgm:t>
    </dgm:pt>
    <dgm:pt modelId="{2417BEC8-6E1B-4928-A51A-984D2C91BFB2}" type="pres">
      <dgm:prSet presAssocID="{25FFB459-BDE0-4C4A-845F-724C4D833879}" presName="extraNode" presStyleLbl="node1" presStyleIdx="0" presStyleCnt="4"/>
      <dgm:spPr/>
    </dgm:pt>
    <dgm:pt modelId="{55A0ACCE-E7B7-4289-AF79-E1323B0FDFE9}" type="pres">
      <dgm:prSet presAssocID="{25FFB459-BDE0-4C4A-845F-724C4D833879}" presName="dstNode" presStyleLbl="node1" presStyleIdx="0" presStyleCnt="4"/>
      <dgm:spPr/>
    </dgm:pt>
    <dgm:pt modelId="{AEFE5010-F9D5-443C-B31C-0A4BFC0E7AA2}" type="pres">
      <dgm:prSet presAssocID="{BD0D9A70-9F74-47B1-9B13-E90AD481EECC}" presName="text_1" presStyleLbl="node1" presStyleIdx="0" presStyleCnt="4" custScaleY="133105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AAA9E397-D362-4BD7-B4A7-93E61E39D0F1}" type="pres">
      <dgm:prSet presAssocID="{BD0D9A70-9F74-47B1-9B13-E90AD481EECC}" presName="accent_1" presStyleCnt="0"/>
      <dgm:spPr/>
    </dgm:pt>
    <dgm:pt modelId="{DA634839-97D9-4A7F-89B0-5FE9B941A908}" type="pres">
      <dgm:prSet presAssocID="{BD0D9A70-9F74-47B1-9B13-E90AD481EECC}" presName="accentRepeatNode" presStyleLbl="solidFgAcc1" presStyleIdx="0" presStyleCnt="4"/>
      <dgm:spPr>
        <a:solidFill>
          <a:schemeClr val="bg1"/>
        </a:solidFill>
        <a:ln>
          <a:solidFill>
            <a:srgbClr val="00B0F0"/>
          </a:solidFill>
        </a:ln>
      </dgm:spPr>
      <dgm:t>
        <a:bodyPr/>
        <a:lstStyle/>
        <a:p>
          <a:endParaRPr lang="fr-BE"/>
        </a:p>
      </dgm:t>
    </dgm:pt>
    <dgm:pt modelId="{88CF4552-8F47-481F-A3FA-780F9DFEC56D}" type="pres">
      <dgm:prSet presAssocID="{3E29C919-EBA2-4B5F-92EA-E8F9205882AA}" presName="text_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FF78ACA5-8420-41C2-8829-B61F267C3775}" type="pres">
      <dgm:prSet presAssocID="{3E29C919-EBA2-4B5F-92EA-E8F9205882AA}" presName="accent_2" presStyleCnt="0"/>
      <dgm:spPr/>
    </dgm:pt>
    <dgm:pt modelId="{E2428A20-C205-41B8-BBA3-6EE1310CBC53}" type="pres">
      <dgm:prSet presAssocID="{3E29C919-EBA2-4B5F-92EA-E8F9205882AA}" presName="accentRepeatNode" presStyleLbl="solidFgAcc1" presStyleIdx="1" presStyleCnt="4"/>
      <dgm:spPr>
        <a:solidFill>
          <a:schemeClr val="bg1"/>
        </a:solidFill>
        <a:ln>
          <a:solidFill>
            <a:srgbClr val="00B0F0"/>
          </a:solidFill>
        </a:ln>
      </dgm:spPr>
      <dgm:t>
        <a:bodyPr/>
        <a:lstStyle/>
        <a:p>
          <a:endParaRPr lang="fr-BE"/>
        </a:p>
      </dgm:t>
    </dgm:pt>
    <dgm:pt modelId="{7EC00844-76D1-46D0-ACF0-76B2B5F4F39A}" type="pres">
      <dgm:prSet presAssocID="{FA1A8CA0-166E-4793-9FB5-1D89FEEDFED8}" presName="text_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E9075973-D828-4691-A855-0F5BD1EC1436}" type="pres">
      <dgm:prSet presAssocID="{FA1A8CA0-166E-4793-9FB5-1D89FEEDFED8}" presName="accent_3" presStyleCnt="0"/>
      <dgm:spPr/>
    </dgm:pt>
    <dgm:pt modelId="{68F1340E-9D70-4E47-A56B-A62D8A875EFB}" type="pres">
      <dgm:prSet presAssocID="{FA1A8CA0-166E-4793-9FB5-1D89FEEDFED8}" presName="accentRepeatNode" presStyleLbl="solidFgAcc1" presStyleIdx="2" presStyleCnt="4"/>
      <dgm:spPr>
        <a:solidFill>
          <a:schemeClr val="bg1"/>
        </a:solidFill>
        <a:ln>
          <a:solidFill>
            <a:srgbClr val="00B0F0"/>
          </a:solidFill>
        </a:ln>
      </dgm:spPr>
      <dgm:t>
        <a:bodyPr/>
        <a:lstStyle/>
        <a:p>
          <a:endParaRPr lang="fr-BE"/>
        </a:p>
      </dgm:t>
    </dgm:pt>
    <dgm:pt modelId="{3AD42521-D2D6-40D4-96DF-A4DB1507EAA5}" type="pres">
      <dgm:prSet presAssocID="{1B8670EF-9C6F-4A0C-B3E6-2474D9923FC7}" presName="text_4" presStyleLbl="node1" presStyleIdx="3" presStyleCnt="4" custLinFactNeighborX="-320" custLinFactNeighborY="6507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C6482195-D1C1-4F2A-913D-01D9D6BDC9D0}" type="pres">
      <dgm:prSet presAssocID="{1B8670EF-9C6F-4A0C-B3E6-2474D9923FC7}" presName="accent_4" presStyleCnt="0"/>
      <dgm:spPr/>
    </dgm:pt>
    <dgm:pt modelId="{4371D9A8-9E6D-4069-9D2F-9A2B5B3FC96D}" type="pres">
      <dgm:prSet presAssocID="{1B8670EF-9C6F-4A0C-B3E6-2474D9923FC7}" presName="accentRepeatNode" presStyleLbl="solidFgAcc1" presStyleIdx="3" presStyleCnt="4"/>
      <dgm:spPr>
        <a:ln>
          <a:solidFill>
            <a:srgbClr val="00B0F0"/>
          </a:solidFill>
        </a:ln>
      </dgm:spPr>
      <dgm:t>
        <a:bodyPr/>
        <a:lstStyle/>
        <a:p>
          <a:endParaRPr lang="fr-BE"/>
        </a:p>
      </dgm:t>
    </dgm:pt>
  </dgm:ptLst>
  <dgm:cxnLst>
    <dgm:cxn modelId="{9DD4966C-758D-47C4-8684-565DE4AE1E21}" type="presOf" srcId="{1B8670EF-9C6F-4A0C-B3E6-2474D9923FC7}" destId="{3AD42521-D2D6-40D4-96DF-A4DB1507EAA5}" srcOrd="0" destOrd="0" presId="urn:microsoft.com/office/officeart/2008/layout/VerticalCurvedList"/>
    <dgm:cxn modelId="{4BB4FA7D-9FEE-4D6A-82AF-A1BBDBF256AD}" srcId="{25FFB459-BDE0-4C4A-845F-724C4D833879}" destId="{FA1A8CA0-166E-4793-9FB5-1D89FEEDFED8}" srcOrd="2" destOrd="0" parTransId="{9BE39A37-4630-46B8-BD3B-02C91EDC930F}" sibTransId="{CD9E6D59-F255-4ADB-8C38-892B9C3F47F3}"/>
    <dgm:cxn modelId="{9CB6CBF1-CE0F-4045-91A4-4E650A6B8336}" type="presOf" srcId="{25FFB459-BDE0-4C4A-845F-724C4D833879}" destId="{A8F177C2-56BD-49F9-BCB1-5E9F3E4E6F85}" srcOrd="0" destOrd="0" presId="urn:microsoft.com/office/officeart/2008/layout/VerticalCurvedList"/>
    <dgm:cxn modelId="{F69FA146-33CE-4173-A172-F283F1432CF5}" srcId="{25FFB459-BDE0-4C4A-845F-724C4D833879}" destId="{1B8670EF-9C6F-4A0C-B3E6-2474D9923FC7}" srcOrd="3" destOrd="0" parTransId="{81966D1F-5B9B-4CF4-ACE7-837949D4A886}" sibTransId="{24DB9AAE-5BC4-4BC2-A317-C8469B3F6AD1}"/>
    <dgm:cxn modelId="{B0EF587F-291B-4395-A825-9D1C4CE072C7}" srcId="{25FFB459-BDE0-4C4A-845F-724C4D833879}" destId="{3E29C919-EBA2-4B5F-92EA-E8F9205882AA}" srcOrd="1" destOrd="0" parTransId="{F722F98F-78B5-4ABD-AA96-CD6B9808F374}" sibTransId="{14F7E6B2-B5C3-4506-9D06-57D7A49BC2BC}"/>
    <dgm:cxn modelId="{A79A0B4A-D1AC-47B0-A1C1-5CC671BA246D}" srcId="{25FFB459-BDE0-4C4A-845F-724C4D833879}" destId="{BD0D9A70-9F74-47B1-9B13-E90AD481EECC}" srcOrd="0" destOrd="0" parTransId="{8F0190A3-9F91-4049-B8CE-B6E388350638}" sibTransId="{0E1DA99B-FEDA-49F6-9388-EDDB315D8FD4}"/>
    <dgm:cxn modelId="{F2408C84-66A3-4365-B6B1-DA4228A7EF91}" type="presOf" srcId="{0E1DA99B-FEDA-49F6-9388-EDDB315D8FD4}" destId="{EC34EAFA-82B2-4E56-BEE0-F534DA6A3479}" srcOrd="0" destOrd="0" presId="urn:microsoft.com/office/officeart/2008/layout/VerticalCurvedList"/>
    <dgm:cxn modelId="{F4614662-13C5-44F7-9538-5EF787FECD75}" type="presOf" srcId="{FA1A8CA0-166E-4793-9FB5-1D89FEEDFED8}" destId="{7EC00844-76D1-46D0-ACF0-76B2B5F4F39A}" srcOrd="0" destOrd="0" presId="urn:microsoft.com/office/officeart/2008/layout/VerticalCurvedList"/>
    <dgm:cxn modelId="{1098492A-DCBF-4007-A483-2CF4916F844A}" type="presOf" srcId="{3E29C919-EBA2-4B5F-92EA-E8F9205882AA}" destId="{88CF4552-8F47-481F-A3FA-780F9DFEC56D}" srcOrd="0" destOrd="0" presId="urn:microsoft.com/office/officeart/2008/layout/VerticalCurvedList"/>
    <dgm:cxn modelId="{27D3C9AA-09C8-42DE-B675-38E346142C33}" type="presOf" srcId="{BD0D9A70-9F74-47B1-9B13-E90AD481EECC}" destId="{AEFE5010-F9D5-443C-B31C-0A4BFC0E7AA2}" srcOrd="0" destOrd="0" presId="urn:microsoft.com/office/officeart/2008/layout/VerticalCurvedList"/>
    <dgm:cxn modelId="{2F5867B1-3872-4F47-A5DC-04278EF4DD1F}" type="presParOf" srcId="{A8F177C2-56BD-49F9-BCB1-5E9F3E4E6F85}" destId="{64CB180A-A61E-4189-A25E-A0213A3E05FC}" srcOrd="0" destOrd="0" presId="urn:microsoft.com/office/officeart/2008/layout/VerticalCurvedList"/>
    <dgm:cxn modelId="{B9201A65-BEC6-474B-92E0-A0E7D4BCACBA}" type="presParOf" srcId="{64CB180A-A61E-4189-A25E-A0213A3E05FC}" destId="{21B2D0BF-C437-4DBA-BB85-EF9CF09D35CD}" srcOrd="0" destOrd="0" presId="urn:microsoft.com/office/officeart/2008/layout/VerticalCurvedList"/>
    <dgm:cxn modelId="{C2CA4231-597E-4E96-8C47-E08983CE06BA}" type="presParOf" srcId="{21B2D0BF-C437-4DBA-BB85-EF9CF09D35CD}" destId="{244B40B6-9C2F-4689-8933-18FDDE020483}" srcOrd="0" destOrd="0" presId="urn:microsoft.com/office/officeart/2008/layout/VerticalCurvedList"/>
    <dgm:cxn modelId="{5A9BDEB7-D039-4284-B8BA-81A682229183}" type="presParOf" srcId="{21B2D0BF-C437-4DBA-BB85-EF9CF09D35CD}" destId="{EC34EAFA-82B2-4E56-BEE0-F534DA6A3479}" srcOrd="1" destOrd="0" presId="urn:microsoft.com/office/officeart/2008/layout/VerticalCurvedList"/>
    <dgm:cxn modelId="{8F856C77-BEEF-480D-87A5-AFF5D935D7F0}" type="presParOf" srcId="{21B2D0BF-C437-4DBA-BB85-EF9CF09D35CD}" destId="{2417BEC8-6E1B-4928-A51A-984D2C91BFB2}" srcOrd="2" destOrd="0" presId="urn:microsoft.com/office/officeart/2008/layout/VerticalCurvedList"/>
    <dgm:cxn modelId="{14D37FDE-F8A6-423D-919C-78466B73B62B}" type="presParOf" srcId="{21B2D0BF-C437-4DBA-BB85-EF9CF09D35CD}" destId="{55A0ACCE-E7B7-4289-AF79-E1323B0FDFE9}" srcOrd="3" destOrd="0" presId="urn:microsoft.com/office/officeart/2008/layout/VerticalCurvedList"/>
    <dgm:cxn modelId="{C8A32867-1C98-422F-9C49-5B896C3791A6}" type="presParOf" srcId="{64CB180A-A61E-4189-A25E-A0213A3E05FC}" destId="{AEFE5010-F9D5-443C-B31C-0A4BFC0E7AA2}" srcOrd="1" destOrd="0" presId="urn:microsoft.com/office/officeart/2008/layout/VerticalCurvedList"/>
    <dgm:cxn modelId="{8947CFD3-8D88-4065-9FBF-405DF4D1660A}" type="presParOf" srcId="{64CB180A-A61E-4189-A25E-A0213A3E05FC}" destId="{AAA9E397-D362-4BD7-B4A7-93E61E39D0F1}" srcOrd="2" destOrd="0" presId="urn:microsoft.com/office/officeart/2008/layout/VerticalCurvedList"/>
    <dgm:cxn modelId="{5E0831B0-7271-4911-820B-771594FA4794}" type="presParOf" srcId="{AAA9E397-D362-4BD7-B4A7-93E61E39D0F1}" destId="{DA634839-97D9-4A7F-89B0-5FE9B941A908}" srcOrd="0" destOrd="0" presId="urn:microsoft.com/office/officeart/2008/layout/VerticalCurvedList"/>
    <dgm:cxn modelId="{DB9912D1-4222-48D5-B88C-41E61C771DB0}" type="presParOf" srcId="{64CB180A-A61E-4189-A25E-A0213A3E05FC}" destId="{88CF4552-8F47-481F-A3FA-780F9DFEC56D}" srcOrd="3" destOrd="0" presId="urn:microsoft.com/office/officeart/2008/layout/VerticalCurvedList"/>
    <dgm:cxn modelId="{C119A318-AE38-470B-AD12-88780EF9D2C8}" type="presParOf" srcId="{64CB180A-A61E-4189-A25E-A0213A3E05FC}" destId="{FF78ACA5-8420-41C2-8829-B61F267C3775}" srcOrd="4" destOrd="0" presId="urn:microsoft.com/office/officeart/2008/layout/VerticalCurvedList"/>
    <dgm:cxn modelId="{213871E4-ECD6-422B-A20D-A626A582F4F7}" type="presParOf" srcId="{FF78ACA5-8420-41C2-8829-B61F267C3775}" destId="{E2428A20-C205-41B8-BBA3-6EE1310CBC53}" srcOrd="0" destOrd="0" presId="urn:microsoft.com/office/officeart/2008/layout/VerticalCurvedList"/>
    <dgm:cxn modelId="{E9EA2E48-B5A8-4E65-96A9-FE275AC4C697}" type="presParOf" srcId="{64CB180A-A61E-4189-A25E-A0213A3E05FC}" destId="{7EC00844-76D1-46D0-ACF0-76B2B5F4F39A}" srcOrd="5" destOrd="0" presId="urn:microsoft.com/office/officeart/2008/layout/VerticalCurvedList"/>
    <dgm:cxn modelId="{F914C6ED-96DC-45CE-8D19-CC7939085286}" type="presParOf" srcId="{64CB180A-A61E-4189-A25E-A0213A3E05FC}" destId="{E9075973-D828-4691-A855-0F5BD1EC1436}" srcOrd="6" destOrd="0" presId="urn:microsoft.com/office/officeart/2008/layout/VerticalCurvedList"/>
    <dgm:cxn modelId="{31CE74DD-2561-4DC5-8980-42BB0FC687CA}" type="presParOf" srcId="{E9075973-D828-4691-A855-0F5BD1EC1436}" destId="{68F1340E-9D70-4E47-A56B-A62D8A875EFB}" srcOrd="0" destOrd="0" presId="urn:microsoft.com/office/officeart/2008/layout/VerticalCurvedList"/>
    <dgm:cxn modelId="{F9F597E5-F28E-4BBC-8B38-21E6B158C440}" type="presParOf" srcId="{64CB180A-A61E-4189-A25E-A0213A3E05FC}" destId="{3AD42521-D2D6-40D4-96DF-A4DB1507EAA5}" srcOrd="7" destOrd="0" presId="urn:microsoft.com/office/officeart/2008/layout/VerticalCurvedList"/>
    <dgm:cxn modelId="{C29010C6-1391-4C07-A16E-BB6FCEC68D01}" type="presParOf" srcId="{64CB180A-A61E-4189-A25E-A0213A3E05FC}" destId="{C6482195-D1C1-4F2A-913D-01D9D6BDC9D0}" srcOrd="8" destOrd="0" presId="urn:microsoft.com/office/officeart/2008/layout/VerticalCurvedList"/>
    <dgm:cxn modelId="{5B975A32-7555-43BC-B156-C79C4E0E7D07}" type="presParOf" srcId="{C6482195-D1C1-4F2A-913D-01D9D6BDC9D0}" destId="{4371D9A8-9E6D-4069-9D2F-9A2B5B3FC96D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5FFB459-BDE0-4C4A-845F-724C4D833879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175D3C68-0322-4501-AFB4-EE65E878F8D7}">
      <dgm:prSet/>
      <dgm:spPr>
        <a:solidFill>
          <a:srgbClr val="0070C0"/>
        </a:solidFill>
      </dgm:spPr>
      <dgm:t>
        <a:bodyPr/>
        <a:lstStyle/>
        <a:p>
          <a:r>
            <a:rPr lang="fr-BE" dirty="0" smtClean="0"/>
            <a:t>Incident </a:t>
          </a:r>
          <a:r>
            <a:rPr lang="fr-BE" dirty="0" err="1" smtClean="0"/>
            <a:t>Mangt</a:t>
          </a:r>
          <a:endParaRPr lang="fr-BE" dirty="0"/>
        </a:p>
      </dgm:t>
    </dgm:pt>
    <dgm:pt modelId="{5DF10D99-D64F-4BB7-83CF-59568B587D13}" type="parTrans" cxnId="{613AC9C5-964B-4FD5-86A9-C4C0F1D7D8AA}">
      <dgm:prSet/>
      <dgm:spPr/>
      <dgm:t>
        <a:bodyPr/>
        <a:lstStyle/>
        <a:p>
          <a:endParaRPr lang="fr-BE"/>
        </a:p>
      </dgm:t>
    </dgm:pt>
    <dgm:pt modelId="{CCA0BF12-3A5E-439C-AF45-FE84EB116B15}" type="sibTrans" cxnId="{613AC9C5-964B-4FD5-86A9-C4C0F1D7D8AA}">
      <dgm:prSet/>
      <dgm:spPr/>
      <dgm:t>
        <a:bodyPr/>
        <a:lstStyle/>
        <a:p>
          <a:endParaRPr lang="fr-BE"/>
        </a:p>
      </dgm:t>
    </dgm:pt>
    <dgm:pt modelId="{F85F2084-927E-4577-9C75-32F550D4DC61}">
      <dgm:prSet/>
      <dgm:spPr>
        <a:solidFill>
          <a:srgbClr val="0070C0"/>
        </a:solidFill>
      </dgm:spPr>
      <dgm:t>
        <a:bodyPr/>
        <a:lstStyle/>
        <a:p>
          <a:r>
            <a:rPr lang="fr-FR" dirty="0" err="1" smtClean="0"/>
            <a:t>Logical</a:t>
          </a:r>
          <a:r>
            <a:rPr lang="fr-FR" dirty="0" smtClean="0"/>
            <a:t> Audit</a:t>
          </a:r>
          <a:endParaRPr lang="fr-BE" dirty="0"/>
        </a:p>
      </dgm:t>
    </dgm:pt>
    <dgm:pt modelId="{19C402EE-773B-42EE-8487-85DE799BB8F3}" type="parTrans" cxnId="{4073AA25-033A-4FC0-8CDB-C3185BB7C049}">
      <dgm:prSet/>
      <dgm:spPr/>
      <dgm:t>
        <a:bodyPr/>
        <a:lstStyle/>
        <a:p>
          <a:endParaRPr lang="fr-BE"/>
        </a:p>
      </dgm:t>
    </dgm:pt>
    <dgm:pt modelId="{E691380C-2698-4FCF-96F6-0DD5D4041270}" type="sibTrans" cxnId="{4073AA25-033A-4FC0-8CDB-C3185BB7C049}">
      <dgm:prSet/>
      <dgm:spPr/>
      <dgm:t>
        <a:bodyPr/>
        <a:lstStyle/>
        <a:p>
          <a:endParaRPr lang="fr-BE"/>
        </a:p>
      </dgm:t>
    </dgm:pt>
    <dgm:pt modelId="{9739F8B5-3E83-4DCD-A163-1C045D3603E8}">
      <dgm:prSet/>
      <dgm:spPr>
        <a:solidFill>
          <a:srgbClr val="0070C0"/>
        </a:solidFill>
      </dgm:spPr>
      <dgm:t>
        <a:bodyPr/>
        <a:lstStyle/>
        <a:p>
          <a:r>
            <a:rPr lang="fr-FR" dirty="0" err="1" smtClean="0"/>
            <a:t>Technical</a:t>
          </a:r>
          <a:r>
            <a:rPr lang="fr-FR" dirty="0" smtClean="0"/>
            <a:t> Audit</a:t>
          </a:r>
          <a:endParaRPr lang="fr-BE" dirty="0"/>
        </a:p>
      </dgm:t>
    </dgm:pt>
    <dgm:pt modelId="{23DE9CF8-1EEA-4788-B9FA-C01F7D3E3E09}" type="parTrans" cxnId="{693859E6-13AB-4D40-ADFB-4C79B8CCA1F6}">
      <dgm:prSet/>
      <dgm:spPr/>
      <dgm:t>
        <a:bodyPr/>
        <a:lstStyle/>
        <a:p>
          <a:endParaRPr lang="fr-BE"/>
        </a:p>
      </dgm:t>
    </dgm:pt>
    <dgm:pt modelId="{04CFDCC7-E8AB-4B11-B731-0ABBE30822AC}" type="sibTrans" cxnId="{693859E6-13AB-4D40-ADFB-4C79B8CCA1F6}">
      <dgm:prSet/>
      <dgm:spPr/>
      <dgm:t>
        <a:bodyPr/>
        <a:lstStyle/>
        <a:p>
          <a:endParaRPr lang="fr-BE"/>
        </a:p>
      </dgm:t>
    </dgm:pt>
    <dgm:pt modelId="{3B7E6CF6-1114-4E67-8E4F-01CA53EF9340}">
      <dgm:prSet/>
      <dgm:spPr>
        <a:solidFill>
          <a:srgbClr val="0070C0"/>
        </a:solidFill>
      </dgm:spPr>
      <dgm:t>
        <a:bodyPr/>
        <a:lstStyle/>
        <a:p>
          <a:r>
            <a:rPr lang="fr-FR" dirty="0" smtClean="0"/>
            <a:t>Security Architecture</a:t>
          </a:r>
          <a:endParaRPr lang="fr-BE" dirty="0"/>
        </a:p>
      </dgm:t>
    </dgm:pt>
    <dgm:pt modelId="{48E12478-632D-4DBE-BE0C-B397AB0A21AA}" type="parTrans" cxnId="{50550863-E9E7-419E-A91E-0686123EE553}">
      <dgm:prSet/>
      <dgm:spPr/>
      <dgm:t>
        <a:bodyPr/>
        <a:lstStyle/>
        <a:p>
          <a:endParaRPr lang="fr-BE"/>
        </a:p>
      </dgm:t>
    </dgm:pt>
    <dgm:pt modelId="{1EE495DA-183E-4CB0-83BF-13A3024AF9FD}" type="sibTrans" cxnId="{50550863-E9E7-419E-A91E-0686123EE553}">
      <dgm:prSet/>
      <dgm:spPr/>
      <dgm:t>
        <a:bodyPr/>
        <a:lstStyle/>
        <a:p>
          <a:endParaRPr lang="fr-BE"/>
        </a:p>
      </dgm:t>
    </dgm:pt>
    <dgm:pt modelId="{4470CFB5-03EF-40DB-9F3A-0C31957075BC}">
      <dgm:prSet/>
      <dgm:spPr>
        <a:solidFill>
          <a:srgbClr val="0070C0"/>
        </a:solidFill>
      </dgm:spPr>
      <dgm:t>
        <a:bodyPr/>
        <a:lstStyle/>
        <a:p>
          <a:r>
            <a:rPr lang="fr-BE" dirty="0" err="1" smtClean="0"/>
            <a:t>Risk</a:t>
          </a:r>
          <a:r>
            <a:rPr lang="fr-BE" dirty="0" smtClean="0"/>
            <a:t> </a:t>
          </a:r>
          <a:r>
            <a:rPr lang="fr-BE" dirty="0" err="1" smtClean="0"/>
            <a:t>Assessment</a:t>
          </a:r>
          <a:endParaRPr lang="fr-BE" dirty="0"/>
        </a:p>
      </dgm:t>
    </dgm:pt>
    <dgm:pt modelId="{FE4F8A26-C6FC-41A0-B30B-B1D1AED897D5}" type="parTrans" cxnId="{5A9E657E-2A54-447E-809B-BAFFDBC89A8E}">
      <dgm:prSet/>
      <dgm:spPr/>
      <dgm:t>
        <a:bodyPr/>
        <a:lstStyle/>
        <a:p>
          <a:endParaRPr lang="fr-BE"/>
        </a:p>
      </dgm:t>
    </dgm:pt>
    <dgm:pt modelId="{71524673-12A1-431D-A70F-EC1938AB7CF6}" type="sibTrans" cxnId="{5A9E657E-2A54-447E-809B-BAFFDBC89A8E}">
      <dgm:prSet/>
      <dgm:spPr/>
      <dgm:t>
        <a:bodyPr/>
        <a:lstStyle/>
        <a:p>
          <a:endParaRPr lang="fr-BE"/>
        </a:p>
      </dgm:t>
    </dgm:pt>
    <dgm:pt modelId="{A8F177C2-56BD-49F9-BCB1-5E9F3E4E6F85}" type="pres">
      <dgm:prSet presAssocID="{25FFB459-BDE0-4C4A-845F-724C4D833879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fr-BE"/>
        </a:p>
      </dgm:t>
    </dgm:pt>
    <dgm:pt modelId="{64CB180A-A61E-4189-A25E-A0213A3E05FC}" type="pres">
      <dgm:prSet presAssocID="{25FFB459-BDE0-4C4A-845F-724C4D833879}" presName="Name1" presStyleCnt="0"/>
      <dgm:spPr/>
    </dgm:pt>
    <dgm:pt modelId="{21B2D0BF-C437-4DBA-BB85-EF9CF09D35CD}" type="pres">
      <dgm:prSet presAssocID="{25FFB459-BDE0-4C4A-845F-724C4D833879}" presName="cycle" presStyleCnt="0"/>
      <dgm:spPr/>
    </dgm:pt>
    <dgm:pt modelId="{244B40B6-9C2F-4689-8933-18FDDE020483}" type="pres">
      <dgm:prSet presAssocID="{25FFB459-BDE0-4C4A-845F-724C4D833879}" presName="srcNode" presStyleLbl="node1" presStyleIdx="0" presStyleCnt="5"/>
      <dgm:spPr/>
    </dgm:pt>
    <dgm:pt modelId="{EC34EAFA-82B2-4E56-BEE0-F534DA6A3479}" type="pres">
      <dgm:prSet presAssocID="{25FFB459-BDE0-4C4A-845F-724C4D833879}" presName="conn" presStyleLbl="parChTrans1D2" presStyleIdx="0" presStyleCnt="1"/>
      <dgm:spPr/>
      <dgm:t>
        <a:bodyPr/>
        <a:lstStyle/>
        <a:p>
          <a:endParaRPr lang="fr-BE"/>
        </a:p>
      </dgm:t>
    </dgm:pt>
    <dgm:pt modelId="{2417BEC8-6E1B-4928-A51A-984D2C91BFB2}" type="pres">
      <dgm:prSet presAssocID="{25FFB459-BDE0-4C4A-845F-724C4D833879}" presName="extraNode" presStyleLbl="node1" presStyleIdx="0" presStyleCnt="5"/>
      <dgm:spPr/>
    </dgm:pt>
    <dgm:pt modelId="{55A0ACCE-E7B7-4289-AF79-E1323B0FDFE9}" type="pres">
      <dgm:prSet presAssocID="{25FFB459-BDE0-4C4A-845F-724C4D833879}" presName="dstNode" presStyleLbl="node1" presStyleIdx="0" presStyleCnt="5"/>
      <dgm:spPr/>
    </dgm:pt>
    <dgm:pt modelId="{EC31567A-1249-4AE3-8CC4-45E88B79BEFB}" type="pres">
      <dgm:prSet presAssocID="{4470CFB5-03EF-40DB-9F3A-0C31957075BC}" presName="text_1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2509F1F4-A443-4220-BBA3-691AA256E851}" type="pres">
      <dgm:prSet presAssocID="{4470CFB5-03EF-40DB-9F3A-0C31957075BC}" presName="accent_1" presStyleCnt="0"/>
      <dgm:spPr/>
    </dgm:pt>
    <dgm:pt modelId="{B97EEBE8-718C-45C8-8E5D-CA146AEE8F87}" type="pres">
      <dgm:prSet presAssocID="{4470CFB5-03EF-40DB-9F3A-0C31957075BC}" presName="accentRepeatNode" presStyleLbl="solidFgAcc1" presStyleIdx="0" presStyleCnt="5"/>
      <dgm:spPr>
        <a:ln>
          <a:solidFill>
            <a:srgbClr val="0070C0"/>
          </a:solidFill>
        </a:ln>
      </dgm:spPr>
      <dgm:t>
        <a:bodyPr/>
        <a:lstStyle/>
        <a:p>
          <a:endParaRPr lang="fr-BE"/>
        </a:p>
      </dgm:t>
    </dgm:pt>
    <dgm:pt modelId="{78865DED-BE1F-4EAA-8457-EB61028791D5}" type="pres">
      <dgm:prSet presAssocID="{3B7E6CF6-1114-4E67-8E4F-01CA53EF9340}" presName="text_2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120B97FA-CE9E-4E34-A221-2BEC8946F9E5}" type="pres">
      <dgm:prSet presAssocID="{3B7E6CF6-1114-4E67-8E4F-01CA53EF9340}" presName="accent_2" presStyleCnt="0"/>
      <dgm:spPr/>
    </dgm:pt>
    <dgm:pt modelId="{01158141-E688-43A8-9BBE-B8037500A26D}" type="pres">
      <dgm:prSet presAssocID="{3B7E6CF6-1114-4E67-8E4F-01CA53EF9340}" presName="accentRepeatNode" presStyleLbl="solidFgAcc1" presStyleIdx="1" presStyleCnt="5"/>
      <dgm:spPr>
        <a:ln>
          <a:solidFill>
            <a:srgbClr val="0070C0"/>
          </a:solidFill>
        </a:ln>
      </dgm:spPr>
      <dgm:t>
        <a:bodyPr/>
        <a:lstStyle/>
        <a:p>
          <a:endParaRPr lang="fr-BE"/>
        </a:p>
      </dgm:t>
    </dgm:pt>
    <dgm:pt modelId="{57EFFF2A-C399-4E5A-B214-C3CC06EA217F}" type="pres">
      <dgm:prSet presAssocID="{9739F8B5-3E83-4DCD-A163-1C045D3603E8}" presName="text_3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A0E0F031-1FF8-4C38-98E1-81BBDE9D9F78}" type="pres">
      <dgm:prSet presAssocID="{9739F8B5-3E83-4DCD-A163-1C045D3603E8}" presName="accent_3" presStyleCnt="0"/>
      <dgm:spPr/>
    </dgm:pt>
    <dgm:pt modelId="{3F624561-BC81-4199-A425-5B78F628C0DA}" type="pres">
      <dgm:prSet presAssocID="{9739F8B5-3E83-4DCD-A163-1C045D3603E8}" presName="accentRepeatNode" presStyleLbl="solidFgAcc1" presStyleIdx="2" presStyleCnt="5"/>
      <dgm:spPr>
        <a:ln>
          <a:solidFill>
            <a:srgbClr val="0070C0"/>
          </a:solidFill>
        </a:ln>
      </dgm:spPr>
      <dgm:t>
        <a:bodyPr/>
        <a:lstStyle/>
        <a:p>
          <a:endParaRPr lang="fr-BE"/>
        </a:p>
      </dgm:t>
    </dgm:pt>
    <dgm:pt modelId="{B42FA0CB-FD17-460F-AD0C-DDA80DA5D0C7}" type="pres">
      <dgm:prSet presAssocID="{F85F2084-927E-4577-9C75-32F550D4DC61}" presName="text_4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98B79DBA-2C10-4E4F-9AC2-811F13B12A48}" type="pres">
      <dgm:prSet presAssocID="{F85F2084-927E-4577-9C75-32F550D4DC61}" presName="accent_4" presStyleCnt="0"/>
      <dgm:spPr/>
    </dgm:pt>
    <dgm:pt modelId="{757905FD-2761-4946-9CA2-DC5BFF7A1048}" type="pres">
      <dgm:prSet presAssocID="{F85F2084-927E-4577-9C75-32F550D4DC61}" presName="accentRepeatNode" presStyleLbl="solidFgAcc1" presStyleIdx="3" presStyleCnt="5"/>
      <dgm:spPr>
        <a:ln>
          <a:solidFill>
            <a:srgbClr val="0070C0"/>
          </a:solidFill>
        </a:ln>
      </dgm:spPr>
      <dgm:t>
        <a:bodyPr/>
        <a:lstStyle/>
        <a:p>
          <a:endParaRPr lang="fr-BE"/>
        </a:p>
      </dgm:t>
    </dgm:pt>
    <dgm:pt modelId="{143F688F-DAD3-4393-914E-5FE9E789D086}" type="pres">
      <dgm:prSet presAssocID="{175D3C68-0322-4501-AFB4-EE65E878F8D7}" presName="text_5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3364D4F6-DA46-4834-AE49-F451CF41AB37}" type="pres">
      <dgm:prSet presAssocID="{175D3C68-0322-4501-AFB4-EE65E878F8D7}" presName="accent_5" presStyleCnt="0"/>
      <dgm:spPr/>
    </dgm:pt>
    <dgm:pt modelId="{1C25B517-3B04-4661-B307-2DFBAF8DD88B}" type="pres">
      <dgm:prSet presAssocID="{175D3C68-0322-4501-AFB4-EE65E878F8D7}" presName="accentRepeatNode" presStyleLbl="solidFgAcc1" presStyleIdx="4" presStyleCnt="5"/>
      <dgm:spPr>
        <a:ln>
          <a:solidFill>
            <a:srgbClr val="0070C0"/>
          </a:solidFill>
        </a:ln>
      </dgm:spPr>
      <dgm:t>
        <a:bodyPr/>
        <a:lstStyle/>
        <a:p>
          <a:endParaRPr lang="fr-BE"/>
        </a:p>
      </dgm:t>
    </dgm:pt>
  </dgm:ptLst>
  <dgm:cxnLst>
    <dgm:cxn modelId="{5A9E657E-2A54-447E-809B-BAFFDBC89A8E}" srcId="{25FFB459-BDE0-4C4A-845F-724C4D833879}" destId="{4470CFB5-03EF-40DB-9F3A-0C31957075BC}" srcOrd="0" destOrd="0" parTransId="{FE4F8A26-C6FC-41A0-B30B-B1D1AED897D5}" sibTransId="{71524673-12A1-431D-A70F-EC1938AB7CF6}"/>
    <dgm:cxn modelId="{735DADD9-3AD8-4407-9A40-3BF0A5C1F984}" type="presOf" srcId="{F85F2084-927E-4577-9C75-32F550D4DC61}" destId="{B42FA0CB-FD17-460F-AD0C-DDA80DA5D0C7}" srcOrd="0" destOrd="0" presId="urn:microsoft.com/office/officeart/2008/layout/VerticalCurvedList"/>
    <dgm:cxn modelId="{761BC7DC-4A5C-4678-9168-B6B801ABB14C}" type="presOf" srcId="{9739F8B5-3E83-4DCD-A163-1C045D3603E8}" destId="{57EFFF2A-C399-4E5A-B214-C3CC06EA217F}" srcOrd="0" destOrd="0" presId="urn:microsoft.com/office/officeart/2008/layout/VerticalCurvedList"/>
    <dgm:cxn modelId="{C7DC4461-D2A2-4C51-8BBA-459886F3667F}" type="presOf" srcId="{3B7E6CF6-1114-4E67-8E4F-01CA53EF9340}" destId="{78865DED-BE1F-4EAA-8457-EB61028791D5}" srcOrd="0" destOrd="0" presId="urn:microsoft.com/office/officeart/2008/layout/VerticalCurvedList"/>
    <dgm:cxn modelId="{613AC9C5-964B-4FD5-86A9-C4C0F1D7D8AA}" srcId="{25FFB459-BDE0-4C4A-845F-724C4D833879}" destId="{175D3C68-0322-4501-AFB4-EE65E878F8D7}" srcOrd="4" destOrd="0" parTransId="{5DF10D99-D64F-4BB7-83CF-59568B587D13}" sibTransId="{CCA0BF12-3A5E-439C-AF45-FE84EB116B15}"/>
    <dgm:cxn modelId="{72447455-4DB1-44F8-A276-1F9775C38298}" type="presOf" srcId="{175D3C68-0322-4501-AFB4-EE65E878F8D7}" destId="{143F688F-DAD3-4393-914E-5FE9E789D086}" srcOrd="0" destOrd="0" presId="urn:microsoft.com/office/officeart/2008/layout/VerticalCurvedList"/>
    <dgm:cxn modelId="{81A90810-08E3-4B54-A006-4311096E2F41}" type="presOf" srcId="{25FFB459-BDE0-4C4A-845F-724C4D833879}" destId="{A8F177C2-56BD-49F9-BCB1-5E9F3E4E6F85}" srcOrd="0" destOrd="0" presId="urn:microsoft.com/office/officeart/2008/layout/VerticalCurvedList"/>
    <dgm:cxn modelId="{4073AA25-033A-4FC0-8CDB-C3185BB7C049}" srcId="{25FFB459-BDE0-4C4A-845F-724C4D833879}" destId="{F85F2084-927E-4577-9C75-32F550D4DC61}" srcOrd="3" destOrd="0" parTransId="{19C402EE-773B-42EE-8487-85DE799BB8F3}" sibTransId="{E691380C-2698-4FCF-96F6-0DD5D4041270}"/>
    <dgm:cxn modelId="{5DCA0C26-179E-4EBC-98BB-9D888A5E588A}" type="presOf" srcId="{4470CFB5-03EF-40DB-9F3A-0C31957075BC}" destId="{EC31567A-1249-4AE3-8CC4-45E88B79BEFB}" srcOrd="0" destOrd="0" presId="urn:microsoft.com/office/officeart/2008/layout/VerticalCurvedList"/>
    <dgm:cxn modelId="{693859E6-13AB-4D40-ADFB-4C79B8CCA1F6}" srcId="{25FFB459-BDE0-4C4A-845F-724C4D833879}" destId="{9739F8B5-3E83-4DCD-A163-1C045D3603E8}" srcOrd="2" destOrd="0" parTransId="{23DE9CF8-1EEA-4788-B9FA-C01F7D3E3E09}" sibTransId="{04CFDCC7-E8AB-4B11-B731-0ABBE30822AC}"/>
    <dgm:cxn modelId="{3533308D-5DAC-4588-B3B9-B364349DF002}" type="presOf" srcId="{71524673-12A1-431D-A70F-EC1938AB7CF6}" destId="{EC34EAFA-82B2-4E56-BEE0-F534DA6A3479}" srcOrd="0" destOrd="0" presId="urn:microsoft.com/office/officeart/2008/layout/VerticalCurvedList"/>
    <dgm:cxn modelId="{50550863-E9E7-419E-A91E-0686123EE553}" srcId="{25FFB459-BDE0-4C4A-845F-724C4D833879}" destId="{3B7E6CF6-1114-4E67-8E4F-01CA53EF9340}" srcOrd="1" destOrd="0" parTransId="{48E12478-632D-4DBE-BE0C-B397AB0A21AA}" sibTransId="{1EE495DA-183E-4CB0-83BF-13A3024AF9FD}"/>
    <dgm:cxn modelId="{09A1C3A8-E5BC-467F-B899-0742D9BBABB6}" type="presParOf" srcId="{A8F177C2-56BD-49F9-BCB1-5E9F3E4E6F85}" destId="{64CB180A-A61E-4189-A25E-A0213A3E05FC}" srcOrd="0" destOrd="0" presId="urn:microsoft.com/office/officeart/2008/layout/VerticalCurvedList"/>
    <dgm:cxn modelId="{7EA82DF1-503D-4BEF-97CA-3A1FA1F20044}" type="presParOf" srcId="{64CB180A-A61E-4189-A25E-A0213A3E05FC}" destId="{21B2D0BF-C437-4DBA-BB85-EF9CF09D35CD}" srcOrd="0" destOrd="0" presId="urn:microsoft.com/office/officeart/2008/layout/VerticalCurvedList"/>
    <dgm:cxn modelId="{23C3FBD8-1E73-4B45-BC28-DB0D7076179D}" type="presParOf" srcId="{21B2D0BF-C437-4DBA-BB85-EF9CF09D35CD}" destId="{244B40B6-9C2F-4689-8933-18FDDE020483}" srcOrd="0" destOrd="0" presId="urn:microsoft.com/office/officeart/2008/layout/VerticalCurvedList"/>
    <dgm:cxn modelId="{1012200B-E39E-426B-98A3-BD9689872203}" type="presParOf" srcId="{21B2D0BF-C437-4DBA-BB85-EF9CF09D35CD}" destId="{EC34EAFA-82B2-4E56-BEE0-F534DA6A3479}" srcOrd="1" destOrd="0" presId="urn:microsoft.com/office/officeart/2008/layout/VerticalCurvedList"/>
    <dgm:cxn modelId="{B1FB5179-E513-494B-86F3-66FC839BE0E6}" type="presParOf" srcId="{21B2D0BF-C437-4DBA-BB85-EF9CF09D35CD}" destId="{2417BEC8-6E1B-4928-A51A-984D2C91BFB2}" srcOrd="2" destOrd="0" presId="urn:microsoft.com/office/officeart/2008/layout/VerticalCurvedList"/>
    <dgm:cxn modelId="{16A2C17E-CD9B-4E97-A32D-6BFD4EABD9B8}" type="presParOf" srcId="{21B2D0BF-C437-4DBA-BB85-EF9CF09D35CD}" destId="{55A0ACCE-E7B7-4289-AF79-E1323B0FDFE9}" srcOrd="3" destOrd="0" presId="urn:microsoft.com/office/officeart/2008/layout/VerticalCurvedList"/>
    <dgm:cxn modelId="{D8B01978-B1F8-443C-A485-107FCD8298BF}" type="presParOf" srcId="{64CB180A-A61E-4189-A25E-A0213A3E05FC}" destId="{EC31567A-1249-4AE3-8CC4-45E88B79BEFB}" srcOrd="1" destOrd="0" presId="urn:microsoft.com/office/officeart/2008/layout/VerticalCurvedList"/>
    <dgm:cxn modelId="{BA4E7283-8016-4BB2-8147-F9F31F90C016}" type="presParOf" srcId="{64CB180A-A61E-4189-A25E-A0213A3E05FC}" destId="{2509F1F4-A443-4220-BBA3-691AA256E851}" srcOrd="2" destOrd="0" presId="urn:microsoft.com/office/officeart/2008/layout/VerticalCurvedList"/>
    <dgm:cxn modelId="{698C9234-E234-402E-BDED-1C4844A9B281}" type="presParOf" srcId="{2509F1F4-A443-4220-BBA3-691AA256E851}" destId="{B97EEBE8-718C-45C8-8E5D-CA146AEE8F87}" srcOrd="0" destOrd="0" presId="urn:microsoft.com/office/officeart/2008/layout/VerticalCurvedList"/>
    <dgm:cxn modelId="{216A7443-29E8-44AF-A60E-2E8F34F01F82}" type="presParOf" srcId="{64CB180A-A61E-4189-A25E-A0213A3E05FC}" destId="{78865DED-BE1F-4EAA-8457-EB61028791D5}" srcOrd="3" destOrd="0" presId="urn:microsoft.com/office/officeart/2008/layout/VerticalCurvedList"/>
    <dgm:cxn modelId="{2110B745-051B-48EB-B728-D6A22F2523A0}" type="presParOf" srcId="{64CB180A-A61E-4189-A25E-A0213A3E05FC}" destId="{120B97FA-CE9E-4E34-A221-2BEC8946F9E5}" srcOrd="4" destOrd="0" presId="urn:microsoft.com/office/officeart/2008/layout/VerticalCurvedList"/>
    <dgm:cxn modelId="{D51A0702-E39E-4702-A0C7-D7A41D2D4E88}" type="presParOf" srcId="{120B97FA-CE9E-4E34-A221-2BEC8946F9E5}" destId="{01158141-E688-43A8-9BBE-B8037500A26D}" srcOrd="0" destOrd="0" presId="urn:microsoft.com/office/officeart/2008/layout/VerticalCurvedList"/>
    <dgm:cxn modelId="{9EB36D58-A02C-400B-858D-B4F28E5BAE8E}" type="presParOf" srcId="{64CB180A-A61E-4189-A25E-A0213A3E05FC}" destId="{57EFFF2A-C399-4E5A-B214-C3CC06EA217F}" srcOrd="5" destOrd="0" presId="urn:microsoft.com/office/officeart/2008/layout/VerticalCurvedList"/>
    <dgm:cxn modelId="{D27A1B52-DDEE-431B-9AD7-E2025143AA9C}" type="presParOf" srcId="{64CB180A-A61E-4189-A25E-A0213A3E05FC}" destId="{A0E0F031-1FF8-4C38-98E1-81BBDE9D9F78}" srcOrd="6" destOrd="0" presId="urn:microsoft.com/office/officeart/2008/layout/VerticalCurvedList"/>
    <dgm:cxn modelId="{0819A626-DCA2-41F7-904B-60C42388806D}" type="presParOf" srcId="{A0E0F031-1FF8-4C38-98E1-81BBDE9D9F78}" destId="{3F624561-BC81-4199-A425-5B78F628C0DA}" srcOrd="0" destOrd="0" presId="urn:microsoft.com/office/officeart/2008/layout/VerticalCurvedList"/>
    <dgm:cxn modelId="{F59735D5-FC49-4D64-806E-D8955DC3568C}" type="presParOf" srcId="{64CB180A-A61E-4189-A25E-A0213A3E05FC}" destId="{B42FA0CB-FD17-460F-AD0C-DDA80DA5D0C7}" srcOrd="7" destOrd="0" presId="urn:microsoft.com/office/officeart/2008/layout/VerticalCurvedList"/>
    <dgm:cxn modelId="{4B45BC56-2AC2-4C46-982A-815E207DD2CA}" type="presParOf" srcId="{64CB180A-A61E-4189-A25E-A0213A3E05FC}" destId="{98B79DBA-2C10-4E4F-9AC2-811F13B12A48}" srcOrd="8" destOrd="0" presId="urn:microsoft.com/office/officeart/2008/layout/VerticalCurvedList"/>
    <dgm:cxn modelId="{0908F2C7-4D61-4AB4-A912-CCBE54D454BD}" type="presParOf" srcId="{98B79DBA-2C10-4E4F-9AC2-811F13B12A48}" destId="{757905FD-2761-4946-9CA2-DC5BFF7A1048}" srcOrd="0" destOrd="0" presId="urn:microsoft.com/office/officeart/2008/layout/VerticalCurvedList"/>
    <dgm:cxn modelId="{58D60FA6-BE35-4C9D-96A0-7C9AC8FF42A2}" type="presParOf" srcId="{64CB180A-A61E-4189-A25E-A0213A3E05FC}" destId="{143F688F-DAD3-4393-914E-5FE9E789D086}" srcOrd="9" destOrd="0" presId="urn:microsoft.com/office/officeart/2008/layout/VerticalCurvedList"/>
    <dgm:cxn modelId="{A1EA3294-14F7-4840-A034-C543A4BB7672}" type="presParOf" srcId="{64CB180A-A61E-4189-A25E-A0213A3E05FC}" destId="{3364D4F6-DA46-4834-AE49-F451CF41AB37}" srcOrd="10" destOrd="0" presId="urn:microsoft.com/office/officeart/2008/layout/VerticalCurvedList"/>
    <dgm:cxn modelId="{4975A3B6-5868-4A95-A53A-74CEFE59DF2B}" type="presParOf" srcId="{3364D4F6-DA46-4834-AE49-F451CF41AB37}" destId="{1C25B517-3B04-4661-B307-2DFBAF8DD88B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5FFB459-BDE0-4C4A-845F-724C4D833879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F85F2084-927E-4577-9C75-32F550D4DC61}">
      <dgm:prSet/>
      <dgm:spPr>
        <a:solidFill>
          <a:srgbClr val="6A92D4"/>
        </a:solidFill>
      </dgm:spPr>
      <dgm:t>
        <a:bodyPr/>
        <a:lstStyle/>
        <a:p>
          <a:r>
            <a:rPr lang="fr-BE" dirty="0" smtClean="0"/>
            <a:t>Patch – </a:t>
          </a:r>
          <a:r>
            <a:rPr lang="fr-BE" dirty="0" err="1" smtClean="0"/>
            <a:t>Vulnerability</a:t>
          </a:r>
          <a:r>
            <a:rPr lang="fr-BE" dirty="0" smtClean="0"/>
            <a:t> management</a:t>
          </a:r>
          <a:endParaRPr lang="fr-BE" dirty="0"/>
        </a:p>
      </dgm:t>
    </dgm:pt>
    <dgm:pt modelId="{19C402EE-773B-42EE-8487-85DE799BB8F3}" type="parTrans" cxnId="{4073AA25-033A-4FC0-8CDB-C3185BB7C049}">
      <dgm:prSet/>
      <dgm:spPr/>
      <dgm:t>
        <a:bodyPr/>
        <a:lstStyle/>
        <a:p>
          <a:endParaRPr lang="fr-BE"/>
        </a:p>
      </dgm:t>
    </dgm:pt>
    <dgm:pt modelId="{E691380C-2698-4FCF-96F6-0DD5D4041270}" type="sibTrans" cxnId="{4073AA25-033A-4FC0-8CDB-C3185BB7C049}">
      <dgm:prSet/>
      <dgm:spPr/>
      <dgm:t>
        <a:bodyPr/>
        <a:lstStyle/>
        <a:p>
          <a:endParaRPr lang="fr-BE"/>
        </a:p>
      </dgm:t>
    </dgm:pt>
    <dgm:pt modelId="{9739F8B5-3E83-4DCD-A163-1C045D3603E8}">
      <dgm:prSet/>
      <dgm:spPr>
        <a:solidFill>
          <a:srgbClr val="6A92D4"/>
        </a:solidFill>
      </dgm:spPr>
      <dgm:t>
        <a:bodyPr/>
        <a:lstStyle/>
        <a:p>
          <a:r>
            <a:rPr lang="fr-FR" dirty="0" smtClean="0">
              <a:solidFill>
                <a:schemeClr val="bg1"/>
              </a:solidFill>
            </a:rPr>
            <a:t>Segmentation réseau  - filtrage de protocole</a:t>
          </a:r>
          <a:endParaRPr lang="fr-BE" dirty="0"/>
        </a:p>
      </dgm:t>
    </dgm:pt>
    <dgm:pt modelId="{23DE9CF8-1EEA-4788-B9FA-C01F7D3E3E09}" type="parTrans" cxnId="{693859E6-13AB-4D40-ADFB-4C79B8CCA1F6}">
      <dgm:prSet/>
      <dgm:spPr/>
      <dgm:t>
        <a:bodyPr/>
        <a:lstStyle/>
        <a:p>
          <a:endParaRPr lang="fr-BE"/>
        </a:p>
      </dgm:t>
    </dgm:pt>
    <dgm:pt modelId="{04CFDCC7-E8AB-4B11-B731-0ABBE30822AC}" type="sibTrans" cxnId="{693859E6-13AB-4D40-ADFB-4C79B8CCA1F6}">
      <dgm:prSet/>
      <dgm:spPr/>
      <dgm:t>
        <a:bodyPr/>
        <a:lstStyle/>
        <a:p>
          <a:endParaRPr lang="fr-BE"/>
        </a:p>
      </dgm:t>
    </dgm:pt>
    <dgm:pt modelId="{3B7E6CF6-1114-4E67-8E4F-01CA53EF9340}">
      <dgm:prSet/>
      <dgm:spPr>
        <a:solidFill>
          <a:srgbClr val="6A92D4"/>
        </a:solidFill>
      </dgm:spPr>
      <dgm:t>
        <a:bodyPr/>
        <a:lstStyle/>
        <a:p>
          <a:r>
            <a:rPr lang="fr-FR" dirty="0" smtClean="0">
              <a:solidFill>
                <a:schemeClr val="bg1"/>
              </a:solidFill>
            </a:rPr>
            <a:t>Firewall / IDS / (reverse) Proxy / </a:t>
          </a:r>
          <a:r>
            <a:rPr lang="fr-FR" dirty="0" err="1" smtClean="0">
              <a:solidFill>
                <a:schemeClr val="bg1"/>
              </a:solidFill>
            </a:rPr>
            <a:t>AntiMalware</a:t>
          </a:r>
          <a:endParaRPr lang="fr-BE" dirty="0"/>
        </a:p>
      </dgm:t>
    </dgm:pt>
    <dgm:pt modelId="{48E12478-632D-4DBE-BE0C-B397AB0A21AA}" type="parTrans" cxnId="{50550863-E9E7-419E-A91E-0686123EE553}">
      <dgm:prSet/>
      <dgm:spPr/>
      <dgm:t>
        <a:bodyPr/>
        <a:lstStyle/>
        <a:p>
          <a:endParaRPr lang="fr-BE"/>
        </a:p>
      </dgm:t>
    </dgm:pt>
    <dgm:pt modelId="{1EE495DA-183E-4CB0-83BF-13A3024AF9FD}" type="sibTrans" cxnId="{50550863-E9E7-419E-A91E-0686123EE553}">
      <dgm:prSet/>
      <dgm:spPr/>
      <dgm:t>
        <a:bodyPr/>
        <a:lstStyle/>
        <a:p>
          <a:endParaRPr lang="fr-BE"/>
        </a:p>
      </dgm:t>
    </dgm:pt>
    <dgm:pt modelId="{4470CFB5-03EF-40DB-9F3A-0C31957075BC}">
      <dgm:prSet/>
      <dgm:spPr>
        <a:solidFill>
          <a:srgbClr val="6A92D4"/>
        </a:solidFill>
      </dgm:spPr>
      <dgm:t>
        <a:bodyPr/>
        <a:lstStyle/>
        <a:p>
          <a:r>
            <a:rPr lang="fr-FR" dirty="0" smtClean="0"/>
            <a:t>Analyse de Log / d’Event</a:t>
          </a:r>
          <a:endParaRPr lang="fr-BE" dirty="0"/>
        </a:p>
      </dgm:t>
    </dgm:pt>
    <dgm:pt modelId="{FE4F8A26-C6FC-41A0-B30B-B1D1AED897D5}" type="parTrans" cxnId="{5A9E657E-2A54-447E-809B-BAFFDBC89A8E}">
      <dgm:prSet/>
      <dgm:spPr/>
      <dgm:t>
        <a:bodyPr/>
        <a:lstStyle/>
        <a:p>
          <a:endParaRPr lang="fr-BE"/>
        </a:p>
      </dgm:t>
    </dgm:pt>
    <dgm:pt modelId="{71524673-12A1-431D-A70F-EC1938AB7CF6}" type="sibTrans" cxnId="{5A9E657E-2A54-447E-809B-BAFFDBC89A8E}">
      <dgm:prSet/>
      <dgm:spPr/>
      <dgm:t>
        <a:bodyPr/>
        <a:lstStyle/>
        <a:p>
          <a:endParaRPr lang="fr-BE"/>
        </a:p>
      </dgm:t>
    </dgm:pt>
    <dgm:pt modelId="{A8F177C2-56BD-49F9-BCB1-5E9F3E4E6F85}" type="pres">
      <dgm:prSet presAssocID="{25FFB459-BDE0-4C4A-845F-724C4D833879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fr-BE"/>
        </a:p>
      </dgm:t>
    </dgm:pt>
    <dgm:pt modelId="{64CB180A-A61E-4189-A25E-A0213A3E05FC}" type="pres">
      <dgm:prSet presAssocID="{25FFB459-BDE0-4C4A-845F-724C4D833879}" presName="Name1" presStyleCnt="0"/>
      <dgm:spPr/>
    </dgm:pt>
    <dgm:pt modelId="{21B2D0BF-C437-4DBA-BB85-EF9CF09D35CD}" type="pres">
      <dgm:prSet presAssocID="{25FFB459-BDE0-4C4A-845F-724C4D833879}" presName="cycle" presStyleCnt="0"/>
      <dgm:spPr/>
    </dgm:pt>
    <dgm:pt modelId="{244B40B6-9C2F-4689-8933-18FDDE020483}" type="pres">
      <dgm:prSet presAssocID="{25FFB459-BDE0-4C4A-845F-724C4D833879}" presName="srcNode" presStyleLbl="node1" presStyleIdx="0" presStyleCnt="4"/>
      <dgm:spPr/>
    </dgm:pt>
    <dgm:pt modelId="{EC34EAFA-82B2-4E56-BEE0-F534DA6A3479}" type="pres">
      <dgm:prSet presAssocID="{25FFB459-BDE0-4C4A-845F-724C4D833879}" presName="conn" presStyleLbl="parChTrans1D2" presStyleIdx="0" presStyleCnt="1"/>
      <dgm:spPr/>
      <dgm:t>
        <a:bodyPr/>
        <a:lstStyle/>
        <a:p>
          <a:endParaRPr lang="fr-BE"/>
        </a:p>
      </dgm:t>
    </dgm:pt>
    <dgm:pt modelId="{2417BEC8-6E1B-4928-A51A-984D2C91BFB2}" type="pres">
      <dgm:prSet presAssocID="{25FFB459-BDE0-4C4A-845F-724C4D833879}" presName="extraNode" presStyleLbl="node1" presStyleIdx="0" presStyleCnt="4"/>
      <dgm:spPr/>
    </dgm:pt>
    <dgm:pt modelId="{55A0ACCE-E7B7-4289-AF79-E1323B0FDFE9}" type="pres">
      <dgm:prSet presAssocID="{25FFB459-BDE0-4C4A-845F-724C4D833879}" presName="dstNode" presStyleLbl="node1" presStyleIdx="0" presStyleCnt="4"/>
      <dgm:spPr/>
    </dgm:pt>
    <dgm:pt modelId="{EC31567A-1249-4AE3-8CC4-45E88B79BEFB}" type="pres">
      <dgm:prSet presAssocID="{4470CFB5-03EF-40DB-9F3A-0C31957075BC}" presName="text_1" presStyleLbl="node1" presStyleIdx="0" presStyleCnt="4" custLinFactNeighborX="4556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2509F1F4-A443-4220-BBA3-691AA256E851}" type="pres">
      <dgm:prSet presAssocID="{4470CFB5-03EF-40DB-9F3A-0C31957075BC}" presName="accent_1" presStyleCnt="0"/>
      <dgm:spPr/>
    </dgm:pt>
    <dgm:pt modelId="{B97EEBE8-718C-45C8-8E5D-CA146AEE8F87}" type="pres">
      <dgm:prSet presAssocID="{4470CFB5-03EF-40DB-9F3A-0C31957075BC}" presName="accentRepeatNode" presStyleLbl="solidFgAcc1" presStyleIdx="0" presStyleCnt="4"/>
      <dgm:spPr>
        <a:ln>
          <a:solidFill>
            <a:srgbClr val="0070C0"/>
          </a:solidFill>
        </a:ln>
      </dgm:spPr>
      <dgm:t>
        <a:bodyPr/>
        <a:lstStyle/>
        <a:p>
          <a:endParaRPr lang="fr-BE"/>
        </a:p>
      </dgm:t>
    </dgm:pt>
    <dgm:pt modelId="{78865DED-BE1F-4EAA-8457-EB61028791D5}" type="pres">
      <dgm:prSet presAssocID="{3B7E6CF6-1114-4E67-8E4F-01CA53EF9340}" presName="text_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120B97FA-CE9E-4E34-A221-2BEC8946F9E5}" type="pres">
      <dgm:prSet presAssocID="{3B7E6CF6-1114-4E67-8E4F-01CA53EF9340}" presName="accent_2" presStyleCnt="0"/>
      <dgm:spPr/>
    </dgm:pt>
    <dgm:pt modelId="{01158141-E688-43A8-9BBE-B8037500A26D}" type="pres">
      <dgm:prSet presAssocID="{3B7E6CF6-1114-4E67-8E4F-01CA53EF9340}" presName="accentRepeatNode" presStyleLbl="solidFgAcc1" presStyleIdx="1" presStyleCnt="4"/>
      <dgm:spPr>
        <a:ln>
          <a:solidFill>
            <a:srgbClr val="0070C0"/>
          </a:solidFill>
        </a:ln>
      </dgm:spPr>
      <dgm:t>
        <a:bodyPr/>
        <a:lstStyle/>
        <a:p>
          <a:endParaRPr lang="fr-BE"/>
        </a:p>
      </dgm:t>
    </dgm:pt>
    <dgm:pt modelId="{57EFFF2A-C399-4E5A-B214-C3CC06EA217F}" type="pres">
      <dgm:prSet presAssocID="{9739F8B5-3E83-4DCD-A163-1C045D3603E8}" presName="text_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A0E0F031-1FF8-4C38-98E1-81BBDE9D9F78}" type="pres">
      <dgm:prSet presAssocID="{9739F8B5-3E83-4DCD-A163-1C045D3603E8}" presName="accent_3" presStyleCnt="0"/>
      <dgm:spPr/>
    </dgm:pt>
    <dgm:pt modelId="{3F624561-BC81-4199-A425-5B78F628C0DA}" type="pres">
      <dgm:prSet presAssocID="{9739F8B5-3E83-4DCD-A163-1C045D3603E8}" presName="accentRepeatNode" presStyleLbl="solidFgAcc1" presStyleIdx="2" presStyleCnt="4"/>
      <dgm:spPr>
        <a:ln>
          <a:solidFill>
            <a:srgbClr val="0070C0"/>
          </a:solidFill>
        </a:ln>
      </dgm:spPr>
      <dgm:t>
        <a:bodyPr/>
        <a:lstStyle/>
        <a:p>
          <a:endParaRPr lang="fr-BE"/>
        </a:p>
      </dgm:t>
    </dgm:pt>
    <dgm:pt modelId="{B42FA0CB-FD17-460F-AD0C-DDA80DA5D0C7}" type="pres">
      <dgm:prSet presAssocID="{F85F2084-927E-4577-9C75-32F550D4DC61}" presName="text_4" presStyleLbl="node1" presStyleIdx="3" presStyleCnt="4" custLinFactNeighborX="-1213" custLinFactNeighborY="-7064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98B79DBA-2C10-4E4F-9AC2-811F13B12A48}" type="pres">
      <dgm:prSet presAssocID="{F85F2084-927E-4577-9C75-32F550D4DC61}" presName="accent_4" presStyleCnt="0"/>
      <dgm:spPr/>
    </dgm:pt>
    <dgm:pt modelId="{757905FD-2761-4946-9CA2-DC5BFF7A1048}" type="pres">
      <dgm:prSet presAssocID="{F85F2084-927E-4577-9C75-32F550D4DC61}" presName="accentRepeatNode" presStyleLbl="solidFgAcc1" presStyleIdx="3" presStyleCnt="4"/>
      <dgm:spPr>
        <a:ln>
          <a:solidFill>
            <a:srgbClr val="0070C0"/>
          </a:solidFill>
        </a:ln>
      </dgm:spPr>
      <dgm:t>
        <a:bodyPr/>
        <a:lstStyle/>
        <a:p>
          <a:endParaRPr lang="fr-BE"/>
        </a:p>
      </dgm:t>
    </dgm:pt>
  </dgm:ptLst>
  <dgm:cxnLst>
    <dgm:cxn modelId="{E2684BD5-7A13-4A4D-9979-40A642A4185C}" type="presOf" srcId="{F85F2084-927E-4577-9C75-32F550D4DC61}" destId="{B42FA0CB-FD17-460F-AD0C-DDA80DA5D0C7}" srcOrd="0" destOrd="0" presId="urn:microsoft.com/office/officeart/2008/layout/VerticalCurvedList"/>
    <dgm:cxn modelId="{5A9E657E-2A54-447E-809B-BAFFDBC89A8E}" srcId="{25FFB459-BDE0-4C4A-845F-724C4D833879}" destId="{4470CFB5-03EF-40DB-9F3A-0C31957075BC}" srcOrd="0" destOrd="0" parTransId="{FE4F8A26-C6FC-41A0-B30B-B1D1AED897D5}" sibTransId="{71524673-12A1-431D-A70F-EC1938AB7CF6}"/>
    <dgm:cxn modelId="{60A8DD52-FC38-4AED-B937-8AE8356FD449}" type="presOf" srcId="{3B7E6CF6-1114-4E67-8E4F-01CA53EF9340}" destId="{78865DED-BE1F-4EAA-8457-EB61028791D5}" srcOrd="0" destOrd="0" presId="urn:microsoft.com/office/officeart/2008/layout/VerticalCurvedList"/>
    <dgm:cxn modelId="{AF2B7341-50BC-49AB-A750-D58B6C4A4570}" type="presOf" srcId="{9739F8B5-3E83-4DCD-A163-1C045D3603E8}" destId="{57EFFF2A-C399-4E5A-B214-C3CC06EA217F}" srcOrd="0" destOrd="0" presId="urn:microsoft.com/office/officeart/2008/layout/VerticalCurvedList"/>
    <dgm:cxn modelId="{B9428406-A6EB-4DA5-AE22-BCB912262A97}" type="presOf" srcId="{25FFB459-BDE0-4C4A-845F-724C4D833879}" destId="{A8F177C2-56BD-49F9-BCB1-5E9F3E4E6F85}" srcOrd="0" destOrd="0" presId="urn:microsoft.com/office/officeart/2008/layout/VerticalCurvedList"/>
    <dgm:cxn modelId="{4073AA25-033A-4FC0-8CDB-C3185BB7C049}" srcId="{25FFB459-BDE0-4C4A-845F-724C4D833879}" destId="{F85F2084-927E-4577-9C75-32F550D4DC61}" srcOrd="3" destOrd="0" parTransId="{19C402EE-773B-42EE-8487-85DE799BB8F3}" sibTransId="{E691380C-2698-4FCF-96F6-0DD5D4041270}"/>
    <dgm:cxn modelId="{6E2D77C4-EBF2-4412-B6CD-FB4A39048C20}" type="presOf" srcId="{4470CFB5-03EF-40DB-9F3A-0C31957075BC}" destId="{EC31567A-1249-4AE3-8CC4-45E88B79BEFB}" srcOrd="0" destOrd="0" presId="urn:microsoft.com/office/officeart/2008/layout/VerticalCurvedList"/>
    <dgm:cxn modelId="{693859E6-13AB-4D40-ADFB-4C79B8CCA1F6}" srcId="{25FFB459-BDE0-4C4A-845F-724C4D833879}" destId="{9739F8B5-3E83-4DCD-A163-1C045D3603E8}" srcOrd="2" destOrd="0" parTransId="{23DE9CF8-1EEA-4788-B9FA-C01F7D3E3E09}" sibTransId="{04CFDCC7-E8AB-4B11-B731-0ABBE30822AC}"/>
    <dgm:cxn modelId="{B365E4E9-7F12-4FD0-B4DB-361A71FE390E}" type="presOf" srcId="{71524673-12A1-431D-A70F-EC1938AB7CF6}" destId="{EC34EAFA-82B2-4E56-BEE0-F534DA6A3479}" srcOrd="0" destOrd="0" presId="urn:microsoft.com/office/officeart/2008/layout/VerticalCurvedList"/>
    <dgm:cxn modelId="{50550863-E9E7-419E-A91E-0686123EE553}" srcId="{25FFB459-BDE0-4C4A-845F-724C4D833879}" destId="{3B7E6CF6-1114-4E67-8E4F-01CA53EF9340}" srcOrd="1" destOrd="0" parTransId="{48E12478-632D-4DBE-BE0C-B397AB0A21AA}" sibTransId="{1EE495DA-183E-4CB0-83BF-13A3024AF9FD}"/>
    <dgm:cxn modelId="{66AB285E-0D9A-42AB-9C60-A1CE864CDE4F}" type="presParOf" srcId="{A8F177C2-56BD-49F9-BCB1-5E9F3E4E6F85}" destId="{64CB180A-A61E-4189-A25E-A0213A3E05FC}" srcOrd="0" destOrd="0" presId="urn:microsoft.com/office/officeart/2008/layout/VerticalCurvedList"/>
    <dgm:cxn modelId="{A8D65795-52A2-4C15-A6EA-BE74C883B989}" type="presParOf" srcId="{64CB180A-A61E-4189-A25E-A0213A3E05FC}" destId="{21B2D0BF-C437-4DBA-BB85-EF9CF09D35CD}" srcOrd="0" destOrd="0" presId="urn:microsoft.com/office/officeart/2008/layout/VerticalCurvedList"/>
    <dgm:cxn modelId="{2DF7E443-CF6A-4C07-8E9D-B6BFEE59B2FB}" type="presParOf" srcId="{21B2D0BF-C437-4DBA-BB85-EF9CF09D35CD}" destId="{244B40B6-9C2F-4689-8933-18FDDE020483}" srcOrd="0" destOrd="0" presId="urn:microsoft.com/office/officeart/2008/layout/VerticalCurvedList"/>
    <dgm:cxn modelId="{679C2436-4B61-40D9-81F0-A27013E7BC24}" type="presParOf" srcId="{21B2D0BF-C437-4DBA-BB85-EF9CF09D35CD}" destId="{EC34EAFA-82B2-4E56-BEE0-F534DA6A3479}" srcOrd="1" destOrd="0" presId="urn:microsoft.com/office/officeart/2008/layout/VerticalCurvedList"/>
    <dgm:cxn modelId="{4507BBF4-96F6-4EEE-914F-9C32DB49EC91}" type="presParOf" srcId="{21B2D0BF-C437-4DBA-BB85-EF9CF09D35CD}" destId="{2417BEC8-6E1B-4928-A51A-984D2C91BFB2}" srcOrd="2" destOrd="0" presId="urn:microsoft.com/office/officeart/2008/layout/VerticalCurvedList"/>
    <dgm:cxn modelId="{91BCF842-12C9-4918-ABFF-605FB3FD1C7F}" type="presParOf" srcId="{21B2D0BF-C437-4DBA-BB85-EF9CF09D35CD}" destId="{55A0ACCE-E7B7-4289-AF79-E1323B0FDFE9}" srcOrd="3" destOrd="0" presId="urn:microsoft.com/office/officeart/2008/layout/VerticalCurvedList"/>
    <dgm:cxn modelId="{04B77A35-A468-414A-B069-DD9340B1C919}" type="presParOf" srcId="{64CB180A-A61E-4189-A25E-A0213A3E05FC}" destId="{EC31567A-1249-4AE3-8CC4-45E88B79BEFB}" srcOrd="1" destOrd="0" presId="urn:microsoft.com/office/officeart/2008/layout/VerticalCurvedList"/>
    <dgm:cxn modelId="{4D6AD5A6-E402-4363-9343-04AF920A6794}" type="presParOf" srcId="{64CB180A-A61E-4189-A25E-A0213A3E05FC}" destId="{2509F1F4-A443-4220-BBA3-691AA256E851}" srcOrd="2" destOrd="0" presId="urn:microsoft.com/office/officeart/2008/layout/VerticalCurvedList"/>
    <dgm:cxn modelId="{14B3C38B-615C-4C3F-9347-DDF6A4C9AB4E}" type="presParOf" srcId="{2509F1F4-A443-4220-BBA3-691AA256E851}" destId="{B97EEBE8-718C-45C8-8E5D-CA146AEE8F87}" srcOrd="0" destOrd="0" presId="urn:microsoft.com/office/officeart/2008/layout/VerticalCurvedList"/>
    <dgm:cxn modelId="{503E004D-9A7B-4FF1-8E24-96A1BA411743}" type="presParOf" srcId="{64CB180A-A61E-4189-A25E-A0213A3E05FC}" destId="{78865DED-BE1F-4EAA-8457-EB61028791D5}" srcOrd="3" destOrd="0" presId="urn:microsoft.com/office/officeart/2008/layout/VerticalCurvedList"/>
    <dgm:cxn modelId="{9FF7F9DD-218A-408E-AE0D-AAC0C814C4E6}" type="presParOf" srcId="{64CB180A-A61E-4189-A25E-A0213A3E05FC}" destId="{120B97FA-CE9E-4E34-A221-2BEC8946F9E5}" srcOrd="4" destOrd="0" presId="urn:microsoft.com/office/officeart/2008/layout/VerticalCurvedList"/>
    <dgm:cxn modelId="{B6348F8D-D995-4109-99C3-657E0D20D90B}" type="presParOf" srcId="{120B97FA-CE9E-4E34-A221-2BEC8946F9E5}" destId="{01158141-E688-43A8-9BBE-B8037500A26D}" srcOrd="0" destOrd="0" presId="urn:microsoft.com/office/officeart/2008/layout/VerticalCurvedList"/>
    <dgm:cxn modelId="{9CB425F6-50CC-46D9-8EE1-6B351EB63672}" type="presParOf" srcId="{64CB180A-A61E-4189-A25E-A0213A3E05FC}" destId="{57EFFF2A-C399-4E5A-B214-C3CC06EA217F}" srcOrd="5" destOrd="0" presId="urn:microsoft.com/office/officeart/2008/layout/VerticalCurvedList"/>
    <dgm:cxn modelId="{BDB95271-23CC-47B0-AAE2-057D965915EC}" type="presParOf" srcId="{64CB180A-A61E-4189-A25E-A0213A3E05FC}" destId="{A0E0F031-1FF8-4C38-98E1-81BBDE9D9F78}" srcOrd="6" destOrd="0" presId="urn:microsoft.com/office/officeart/2008/layout/VerticalCurvedList"/>
    <dgm:cxn modelId="{C8371FCA-6356-49B6-A400-C674CD3D7DC7}" type="presParOf" srcId="{A0E0F031-1FF8-4C38-98E1-81BBDE9D9F78}" destId="{3F624561-BC81-4199-A425-5B78F628C0DA}" srcOrd="0" destOrd="0" presId="urn:microsoft.com/office/officeart/2008/layout/VerticalCurvedList"/>
    <dgm:cxn modelId="{8B3954C7-0447-47F4-8B1B-76589C8CCD01}" type="presParOf" srcId="{64CB180A-A61E-4189-A25E-A0213A3E05FC}" destId="{B42FA0CB-FD17-460F-AD0C-DDA80DA5D0C7}" srcOrd="7" destOrd="0" presId="urn:microsoft.com/office/officeart/2008/layout/VerticalCurvedList"/>
    <dgm:cxn modelId="{9D5D975D-0DC8-42F9-9B3B-146C5F09111B}" type="presParOf" srcId="{64CB180A-A61E-4189-A25E-A0213A3E05FC}" destId="{98B79DBA-2C10-4E4F-9AC2-811F13B12A48}" srcOrd="8" destOrd="0" presId="urn:microsoft.com/office/officeart/2008/layout/VerticalCurvedList"/>
    <dgm:cxn modelId="{FC544DF9-DFF9-48FF-A9A7-F16AE375ED21}" type="presParOf" srcId="{98B79DBA-2C10-4E4F-9AC2-811F13B12A48}" destId="{757905FD-2761-4946-9CA2-DC5BFF7A1048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5FFB459-BDE0-4C4A-845F-724C4D833879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BD0D9A70-9F74-47B1-9B13-E90AD481EECC}">
      <dgm:prSet phldrT="[Texte]" custT="1"/>
      <dgm:spPr>
        <a:solidFill>
          <a:srgbClr val="00B0F0"/>
        </a:solidFill>
        <a:ln>
          <a:noFill/>
        </a:ln>
      </dgm:spPr>
      <dgm:t>
        <a:bodyPr/>
        <a:lstStyle/>
        <a:p>
          <a:r>
            <a:rPr lang="fr-FR" sz="1200" dirty="0" smtClean="0"/>
            <a:t>Politique – Normes – Modèles</a:t>
          </a:r>
        </a:p>
        <a:p>
          <a:r>
            <a:rPr lang="fr-FR" sz="1200" dirty="0" smtClean="0"/>
            <a:t>Registre/PIA/consentement</a:t>
          </a:r>
          <a:endParaRPr lang="fr-FR" sz="1200" dirty="0"/>
        </a:p>
      </dgm:t>
    </dgm:pt>
    <dgm:pt modelId="{8F0190A3-9F91-4049-B8CE-B6E388350638}" type="parTrans" cxnId="{A79A0B4A-D1AC-47B0-A1C1-5CC671BA246D}">
      <dgm:prSet/>
      <dgm:spPr/>
      <dgm:t>
        <a:bodyPr/>
        <a:lstStyle/>
        <a:p>
          <a:endParaRPr lang="fr-FR"/>
        </a:p>
      </dgm:t>
    </dgm:pt>
    <dgm:pt modelId="{0E1DA99B-FEDA-49F6-9388-EDDB315D8FD4}" type="sibTrans" cxnId="{A79A0B4A-D1AC-47B0-A1C1-5CC671BA246D}">
      <dgm:prSet/>
      <dgm:spPr/>
      <dgm:t>
        <a:bodyPr/>
        <a:lstStyle/>
        <a:p>
          <a:endParaRPr lang="fr-FR"/>
        </a:p>
      </dgm:t>
    </dgm:pt>
    <dgm:pt modelId="{3E29C919-EBA2-4B5F-92EA-E8F9205882AA}">
      <dgm:prSet phldrT="[Texte]" custT="1"/>
      <dgm:spPr>
        <a:solidFill>
          <a:srgbClr val="00B0F0"/>
        </a:solidFill>
      </dgm:spPr>
      <dgm:t>
        <a:bodyPr/>
        <a:lstStyle/>
        <a:p>
          <a:r>
            <a:rPr lang="fr-FR" sz="1200" dirty="0" smtClean="0"/>
            <a:t>Comité Confidentialité Sécurité de l’Information</a:t>
          </a:r>
          <a:endParaRPr lang="fr-FR" sz="1200" dirty="0"/>
        </a:p>
      </dgm:t>
    </dgm:pt>
    <dgm:pt modelId="{F722F98F-78B5-4ABD-AA96-CD6B9808F374}" type="parTrans" cxnId="{B0EF587F-291B-4395-A825-9D1C4CE072C7}">
      <dgm:prSet/>
      <dgm:spPr/>
      <dgm:t>
        <a:bodyPr/>
        <a:lstStyle/>
        <a:p>
          <a:endParaRPr lang="fr-FR"/>
        </a:p>
      </dgm:t>
    </dgm:pt>
    <dgm:pt modelId="{14F7E6B2-B5C3-4506-9D06-57D7A49BC2BC}" type="sibTrans" cxnId="{B0EF587F-291B-4395-A825-9D1C4CE072C7}">
      <dgm:prSet/>
      <dgm:spPr/>
      <dgm:t>
        <a:bodyPr/>
        <a:lstStyle/>
        <a:p>
          <a:endParaRPr lang="fr-FR"/>
        </a:p>
      </dgm:t>
    </dgm:pt>
    <dgm:pt modelId="{FA1A8CA0-166E-4793-9FB5-1D89FEEDFED8}">
      <dgm:prSet phldrT="[Texte]" custT="1"/>
      <dgm:spPr>
        <a:solidFill>
          <a:srgbClr val="00B0F0"/>
        </a:solidFill>
      </dgm:spPr>
      <dgm:t>
        <a:bodyPr/>
        <a:lstStyle/>
        <a:p>
          <a:r>
            <a:rPr lang="fr-FR" sz="1200" dirty="0" smtClean="0"/>
            <a:t>Procédure – Certification interne</a:t>
          </a:r>
          <a:endParaRPr lang="fr-FR" sz="1200" dirty="0"/>
        </a:p>
      </dgm:t>
    </dgm:pt>
    <dgm:pt modelId="{9BE39A37-4630-46B8-BD3B-02C91EDC930F}" type="parTrans" cxnId="{4BB4FA7D-9FEE-4D6A-82AF-A1BBDBF256AD}">
      <dgm:prSet/>
      <dgm:spPr/>
      <dgm:t>
        <a:bodyPr/>
        <a:lstStyle/>
        <a:p>
          <a:endParaRPr lang="fr-FR"/>
        </a:p>
      </dgm:t>
    </dgm:pt>
    <dgm:pt modelId="{CD9E6D59-F255-4ADB-8C38-892B9C3F47F3}" type="sibTrans" cxnId="{4BB4FA7D-9FEE-4D6A-82AF-A1BBDBF256AD}">
      <dgm:prSet/>
      <dgm:spPr/>
      <dgm:t>
        <a:bodyPr/>
        <a:lstStyle/>
        <a:p>
          <a:endParaRPr lang="fr-FR"/>
        </a:p>
      </dgm:t>
    </dgm:pt>
    <dgm:pt modelId="{23835216-62D0-4853-B6DA-4734431383A2}">
      <dgm:prSet custT="1"/>
      <dgm:spPr>
        <a:solidFill>
          <a:srgbClr val="00B0F0"/>
        </a:solidFill>
      </dgm:spPr>
      <dgm:t>
        <a:bodyPr/>
        <a:lstStyle/>
        <a:p>
          <a:r>
            <a:rPr lang="fr-BE" sz="1400" dirty="0" smtClean="0"/>
            <a:t>Suivi d’indicateurs</a:t>
          </a:r>
          <a:endParaRPr lang="fr-BE" sz="1400" dirty="0"/>
        </a:p>
      </dgm:t>
    </dgm:pt>
    <dgm:pt modelId="{ADA81C25-9FFA-4812-9D63-8B093417249E}" type="parTrans" cxnId="{63BCA357-96D1-4A57-B4EC-9832E787234C}">
      <dgm:prSet/>
      <dgm:spPr/>
      <dgm:t>
        <a:bodyPr/>
        <a:lstStyle/>
        <a:p>
          <a:endParaRPr lang="fr-BE"/>
        </a:p>
      </dgm:t>
    </dgm:pt>
    <dgm:pt modelId="{47E9A972-5665-4672-AEEA-45A95736916C}" type="sibTrans" cxnId="{63BCA357-96D1-4A57-B4EC-9832E787234C}">
      <dgm:prSet/>
      <dgm:spPr/>
      <dgm:t>
        <a:bodyPr/>
        <a:lstStyle/>
        <a:p>
          <a:endParaRPr lang="fr-BE"/>
        </a:p>
      </dgm:t>
    </dgm:pt>
    <dgm:pt modelId="{A8F177C2-56BD-49F9-BCB1-5E9F3E4E6F85}" type="pres">
      <dgm:prSet presAssocID="{25FFB459-BDE0-4C4A-845F-724C4D833879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fr-BE"/>
        </a:p>
      </dgm:t>
    </dgm:pt>
    <dgm:pt modelId="{64CB180A-A61E-4189-A25E-A0213A3E05FC}" type="pres">
      <dgm:prSet presAssocID="{25FFB459-BDE0-4C4A-845F-724C4D833879}" presName="Name1" presStyleCnt="0"/>
      <dgm:spPr/>
    </dgm:pt>
    <dgm:pt modelId="{21B2D0BF-C437-4DBA-BB85-EF9CF09D35CD}" type="pres">
      <dgm:prSet presAssocID="{25FFB459-BDE0-4C4A-845F-724C4D833879}" presName="cycle" presStyleCnt="0"/>
      <dgm:spPr/>
    </dgm:pt>
    <dgm:pt modelId="{244B40B6-9C2F-4689-8933-18FDDE020483}" type="pres">
      <dgm:prSet presAssocID="{25FFB459-BDE0-4C4A-845F-724C4D833879}" presName="srcNode" presStyleLbl="node1" presStyleIdx="0" presStyleCnt="4"/>
      <dgm:spPr/>
    </dgm:pt>
    <dgm:pt modelId="{EC34EAFA-82B2-4E56-BEE0-F534DA6A3479}" type="pres">
      <dgm:prSet presAssocID="{25FFB459-BDE0-4C4A-845F-724C4D833879}" presName="conn" presStyleLbl="parChTrans1D2" presStyleIdx="0" presStyleCnt="1"/>
      <dgm:spPr/>
      <dgm:t>
        <a:bodyPr/>
        <a:lstStyle/>
        <a:p>
          <a:endParaRPr lang="fr-BE"/>
        </a:p>
      </dgm:t>
    </dgm:pt>
    <dgm:pt modelId="{2417BEC8-6E1B-4928-A51A-984D2C91BFB2}" type="pres">
      <dgm:prSet presAssocID="{25FFB459-BDE0-4C4A-845F-724C4D833879}" presName="extraNode" presStyleLbl="node1" presStyleIdx="0" presStyleCnt="4"/>
      <dgm:spPr/>
    </dgm:pt>
    <dgm:pt modelId="{55A0ACCE-E7B7-4289-AF79-E1323B0FDFE9}" type="pres">
      <dgm:prSet presAssocID="{25FFB459-BDE0-4C4A-845F-724C4D833879}" presName="dstNode" presStyleLbl="node1" presStyleIdx="0" presStyleCnt="4"/>
      <dgm:spPr/>
    </dgm:pt>
    <dgm:pt modelId="{AEFE5010-F9D5-443C-B31C-0A4BFC0E7AA2}" type="pres">
      <dgm:prSet presAssocID="{BD0D9A70-9F74-47B1-9B13-E90AD481EECC}" presName="text_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AAA9E397-D362-4BD7-B4A7-93E61E39D0F1}" type="pres">
      <dgm:prSet presAssocID="{BD0D9A70-9F74-47B1-9B13-E90AD481EECC}" presName="accent_1" presStyleCnt="0"/>
      <dgm:spPr/>
    </dgm:pt>
    <dgm:pt modelId="{DA634839-97D9-4A7F-89B0-5FE9B941A908}" type="pres">
      <dgm:prSet presAssocID="{BD0D9A70-9F74-47B1-9B13-E90AD481EECC}" presName="accentRepeatNode" presStyleLbl="solidFgAcc1" presStyleIdx="0" presStyleCnt="4"/>
      <dgm:spPr/>
    </dgm:pt>
    <dgm:pt modelId="{88CF4552-8F47-481F-A3FA-780F9DFEC56D}" type="pres">
      <dgm:prSet presAssocID="{3E29C919-EBA2-4B5F-92EA-E8F9205882AA}" presName="text_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FF78ACA5-8420-41C2-8829-B61F267C3775}" type="pres">
      <dgm:prSet presAssocID="{3E29C919-EBA2-4B5F-92EA-E8F9205882AA}" presName="accent_2" presStyleCnt="0"/>
      <dgm:spPr/>
    </dgm:pt>
    <dgm:pt modelId="{E2428A20-C205-41B8-BBA3-6EE1310CBC53}" type="pres">
      <dgm:prSet presAssocID="{3E29C919-EBA2-4B5F-92EA-E8F9205882AA}" presName="accentRepeatNode" presStyleLbl="solidFgAcc1" presStyleIdx="1" presStyleCnt="4"/>
      <dgm:spPr/>
    </dgm:pt>
    <dgm:pt modelId="{7EC00844-76D1-46D0-ACF0-76B2B5F4F39A}" type="pres">
      <dgm:prSet presAssocID="{FA1A8CA0-166E-4793-9FB5-1D89FEEDFED8}" presName="text_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E9075973-D828-4691-A855-0F5BD1EC1436}" type="pres">
      <dgm:prSet presAssocID="{FA1A8CA0-166E-4793-9FB5-1D89FEEDFED8}" presName="accent_3" presStyleCnt="0"/>
      <dgm:spPr/>
    </dgm:pt>
    <dgm:pt modelId="{68F1340E-9D70-4E47-A56B-A62D8A875EFB}" type="pres">
      <dgm:prSet presAssocID="{FA1A8CA0-166E-4793-9FB5-1D89FEEDFED8}" presName="accentRepeatNode" presStyleLbl="solidFgAcc1" presStyleIdx="2" presStyleCnt="4"/>
      <dgm:spPr/>
    </dgm:pt>
    <dgm:pt modelId="{BB692CDB-859B-410C-8D0C-EB919C38EFE2}" type="pres">
      <dgm:prSet presAssocID="{23835216-62D0-4853-B6DA-4734431383A2}" presName="text_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A801DCF9-FBD1-4B5A-93F2-7CFA479BC169}" type="pres">
      <dgm:prSet presAssocID="{23835216-62D0-4853-B6DA-4734431383A2}" presName="accent_4" presStyleCnt="0"/>
      <dgm:spPr/>
    </dgm:pt>
    <dgm:pt modelId="{9919A620-12D3-449F-99A9-9C8520AABFF1}" type="pres">
      <dgm:prSet presAssocID="{23835216-62D0-4853-B6DA-4734431383A2}" presName="accentRepeatNode" presStyleLbl="solidFgAcc1" presStyleIdx="3" presStyleCnt="4"/>
      <dgm:spPr/>
    </dgm:pt>
  </dgm:ptLst>
  <dgm:cxnLst>
    <dgm:cxn modelId="{4BB4FA7D-9FEE-4D6A-82AF-A1BBDBF256AD}" srcId="{25FFB459-BDE0-4C4A-845F-724C4D833879}" destId="{FA1A8CA0-166E-4793-9FB5-1D89FEEDFED8}" srcOrd="2" destOrd="0" parTransId="{9BE39A37-4630-46B8-BD3B-02C91EDC930F}" sibTransId="{CD9E6D59-F255-4ADB-8C38-892B9C3F47F3}"/>
    <dgm:cxn modelId="{A07FB139-5224-4077-A3B9-3B95EDEEBFBB}" type="presOf" srcId="{BD0D9A70-9F74-47B1-9B13-E90AD481EECC}" destId="{AEFE5010-F9D5-443C-B31C-0A4BFC0E7AA2}" srcOrd="0" destOrd="0" presId="urn:microsoft.com/office/officeart/2008/layout/VerticalCurvedList"/>
    <dgm:cxn modelId="{B0EF587F-291B-4395-A825-9D1C4CE072C7}" srcId="{25FFB459-BDE0-4C4A-845F-724C4D833879}" destId="{3E29C919-EBA2-4B5F-92EA-E8F9205882AA}" srcOrd="1" destOrd="0" parTransId="{F722F98F-78B5-4ABD-AA96-CD6B9808F374}" sibTransId="{14F7E6B2-B5C3-4506-9D06-57D7A49BC2BC}"/>
    <dgm:cxn modelId="{61205EFA-EC5C-4F92-9B70-A939C777949E}" type="presOf" srcId="{25FFB459-BDE0-4C4A-845F-724C4D833879}" destId="{A8F177C2-56BD-49F9-BCB1-5E9F3E4E6F85}" srcOrd="0" destOrd="0" presId="urn:microsoft.com/office/officeart/2008/layout/VerticalCurvedList"/>
    <dgm:cxn modelId="{7A523758-3D26-46DF-B739-2E1344047C66}" type="presOf" srcId="{0E1DA99B-FEDA-49F6-9388-EDDB315D8FD4}" destId="{EC34EAFA-82B2-4E56-BEE0-F534DA6A3479}" srcOrd="0" destOrd="0" presId="urn:microsoft.com/office/officeart/2008/layout/VerticalCurvedList"/>
    <dgm:cxn modelId="{82FD7E2A-48D6-427A-AF9A-AAD08DD07AF1}" type="presOf" srcId="{FA1A8CA0-166E-4793-9FB5-1D89FEEDFED8}" destId="{7EC00844-76D1-46D0-ACF0-76B2B5F4F39A}" srcOrd="0" destOrd="0" presId="urn:microsoft.com/office/officeart/2008/layout/VerticalCurvedList"/>
    <dgm:cxn modelId="{A79A0B4A-D1AC-47B0-A1C1-5CC671BA246D}" srcId="{25FFB459-BDE0-4C4A-845F-724C4D833879}" destId="{BD0D9A70-9F74-47B1-9B13-E90AD481EECC}" srcOrd="0" destOrd="0" parTransId="{8F0190A3-9F91-4049-B8CE-B6E388350638}" sibTransId="{0E1DA99B-FEDA-49F6-9388-EDDB315D8FD4}"/>
    <dgm:cxn modelId="{63BCA357-96D1-4A57-B4EC-9832E787234C}" srcId="{25FFB459-BDE0-4C4A-845F-724C4D833879}" destId="{23835216-62D0-4853-B6DA-4734431383A2}" srcOrd="3" destOrd="0" parTransId="{ADA81C25-9FFA-4812-9D63-8B093417249E}" sibTransId="{47E9A972-5665-4672-AEEA-45A95736916C}"/>
    <dgm:cxn modelId="{DCAB8FB9-AA26-44AF-890B-33E1FBE83D31}" type="presOf" srcId="{23835216-62D0-4853-B6DA-4734431383A2}" destId="{BB692CDB-859B-410C-8D0C-EB919C38EFE2}" srcOrd="0" destOrd="0" presId="urn:microsoft.com/office/officeart/2008/layout/VerticalCurvedList"/>
    <dgm:cxn modelId="{B5F6C069-039F-4AF5-BF9D-2C4D03EA5C0D}" type="presOf" srcId="{3E29C919-EBA2-4B5F-92EA-E8F9205882AA}" destId="{88CF4552-8F47-481F-A3FA-780F9DFEC56D}" srcOrd="0" destOrd="0" presId="urn:microsoft.com/office/officeart/2008/layout/VerticalCurvedList"/>
    <dgm:cxn modelId="{0496F1FB-9E97-4CCE-BCB8-EC5701F01FFF}" type="presParOf" srcId="{A8F177C2-56BD-49F9-BCB1-5E9F3E4E6F85}" destId="{64CB180A-A61E-4189-A25E-A0213A3E05FC}" srcOrd="0" destOrd="0" presId="urn:microsoft.com/office/officeart/2008/layout/VerticalCurvedList"/>
    <dgm:cxn modelId="{FAAC0494-B74D-4806-9B15-A5D450AA55A6}" type="presParOf" srcId="{64CB180A-A61E-4189-A25E-A0213A3E05FC}" destId="{21B2D0BF-C437-4DBA-BB85-EF9CF09D35CD}" srcOrd="0" destOrd="0" presId="urn:microsoft.com/office/officeart/2008/layout/VerticalCurvedList"/>
    <dgm:cxn modelId="{F14AAB80-A5F3-4365-BBEE-F0C5C620F834}" type="presParOf" srcId="{21B2D0BF-C437-4DBA-BB85-EF9CF09D35CD}" destId="{244B40B6-9C2F-4689-8933-18FDDE020483}" srcOrd="0" destOrd="0" presId="urn:microsoft.com/office/officeart/2008/layout/VerticalCurvedList"/>
    <dgm:cxn modelId="{9BFD8F0D-892B-4D14-AC4F-12D24255A67A}" type="presParOf" srcId="{21B2D0BF-C437-4DBA-BB85-EF9CF09D35CD}" destId="{EC34EAFA-82B2-4E56-BEE0-F534DA6A3479}" srcOrd="1" destOrd="0" presId="urn:microsoft.com/office/officeart/2008/layout/VerticalCurvedList"/>
    <dgm:cxn modelId="{569DBB21-6857-4253-B657-273EB370B29B}" type="presParOf" srcId="{21B2D0BF-C437-4DBA-BB85-EF9CF09D35CD}" destId="{2417BEC8-6E1B-4928-A51A-984D2C91BFB2}" srcOrd="2" destOrd="0" presId="urn:microsoft.com/office/officeart/2008/layout/VerticalCurvedList"/>
    <dgm:cxn modelId="{FD22F7AA-4899-41CB-A5D2-895C498B718F}" type="presParOf" srcId="{21B2D0BF-C437-4DBA-BB85-EF9CF09D35CD}" destId="{55A0ACCE-E7B7-4289-AF79-E1323B0FDFE9}" srcOrd="3" destOrd="0" presId="urn:microsoft.com/office/officeart/2008/layout/VerticalCurvedList"/>
    <dgm:cxn modelId="{7477C402-EE6F-4EC1-A428-13B38998F3F3}" type="presParOf" srcId="{64CB180A-A61E-4189-A25E-A0213A3E05FC}" destId="{AEFE5010-F9D5-443C-B31C-0A4BFC0E7AA2}" srcOrd="1" destOrd="0" presId="urn:microsoft.com/office/officeart/2008/layout/VerticalCurvedList"/>
    <dgm:cxn modelId="{54FF7B45-28B1-4DCB-A6C0-A872205C9D5A}" type="presParOf" srcId="{64CB180A-A61E-4189-A25E-A0213A3E05FC}" destId="{AAA9E397-D362-4BD7-B4A7-93E61E39D0F1}" srcOrd="2" destOrd="0" presId="urn:microsoft.com/office/officeart/2008/layout/VerticalCurvedList"/>
    <dgm:cxn modelId="{C4CC2195-F3D2-4C52-AC21-13FCACF4F5FD}" type="presParOf" srcId="{AAA9E397-D362-4BD7-B4A7-93E61E39D0F1}" destId="{DA634839-97D9-4A7F-89B0-5FE9B941A908}" srcOrd="0" destOrd="0" presId="urn:microsoft.com/office/officeart/2008/layout/VerticalCurvedList"/>
    <dgm:cxn modelId="{A8D50ACE-B02B-4773-8FDA-6272CCD7FB41}" type="presParOf" srcId="{64CB180A-A61E-4189-A25E-A0213A3E05FC}" destId="{88CF4552-8F47-481F-A3FA-780F9DFEC56D}" srcOrd="3" destOrd="0" presId="urn:microsoft.com/office/officeart/2008/layout/VerticalCurvedList"/>
    <dgm:cxn modelId="{745F91D5-EF5E-4C59-833E-905304E4C434}" type="presParOf" srcId="{64CB180A-A61E-4189-A25E-A0213A3E05FC}" destId="{FF78ACA5-8420-41C2-8829-B61F267C3775}" srcOrd="4" destOrd="0" presId="urn:microsoft.com/office/officeart/2008/layout/VerticalCurvedList"/>
    <dgm:cxn modelId="{7BB72980-240E-4AE1-97BB-2570F259C4D0}" type="presParOf" srcId="{FF78ACA5-8420-41C2-8829-B61F267C3775}" destId="{E2428A20-C205-41B8-BBA3-6EE1310CBC53}" srcOrd="0" destOrd="0" presId="urn:microsoft.com/office/officeart/2008/layout/VerticalCurvedList"/>
    <dgm:cxn modelId="{00E6AAC1-9EC9-4900-86DC-410F35E16A15}" type="presParOf" srcId="{64CB180A-A61E-4189-A25E-A0213A3E05FC}" destId="{7EC00844-76D1-46D0-ACF0-76B2B5F4F39A}" srcOrd="5" destOrd="0" presId="urn:microsoft.com/office/officeart/2008/layout/VerticalCurvedList"/>
    <dgm:cxn modelId="{AEB05A9C-E271-43BA-AAAA-3608A5782153}" type="presParOf" srcId="{64CB180A-A61E-4189-A25E-A0213A3E05FC}" destId="{E9075973-D828-4691-A855-0F5BD1EC1436}" srcOrd="6" destOrd="0" presId="urn:microsoft.com/office/officeart/2008/layout/VerticalCurvedList"/>
    <dgm:cxn modelId="{8137CF83-C222-48F1-A5AF-DD25A12CF026}" type="presParOf" srcId="{E9075973-D828-4691-A855-0F5BD1EC1436}" destId="{68F1340E-9D70-4E47-A56B-A62D8A875EFB}" srcOrd="0" destOrd="0" presId="urn:microsoft.com/office/officeart/2008/layout/VerticalCurvedList"/>
    <dgm:cxn modelId="{EFBF82DE-BCAC-4900-8241-3283F8D26926}" type="presParOf" srcId="{64CB180A-A61E-4189-A25E-A0213A3E05FC}" destId="{BB692CDB-859B-410C-8D0C-EB919C38EFE2}" srcOrd="7" destOrd="0" presId="urn:microsoft.com/office/officeart/2008/layout/VerticalCurvedList"/>
    <dgm:cxn modelId="{F2F6B9BA-0D19-41D5-BC28-3C3A05507D8B}" type="presParOf" srcId="{64CB180A-A61E-4189-A25E-A0213A3E05FC}" destId="{A801DCF9-FBD1-4B5A-93F2-7CFA479BC169}" srcOrd="8" destOrd="0" presId="urn:microsoft.com/office/officeart/2008/layout/VerticalCurvedList"/>
    <dgm:cxn modelId="{8548D5E8-1FB2-455D-90E5-8A143ACF69BF}" type="presParOf" srcId="{A801DCF9-FBD1-4B5A-93F2-7CFA479BC169}" destId="{9919A620-12D3-449F-99A9-9C8520AABFF1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25FFB459-BDE0-4C4A-845F-724C4D833879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BD0D9A70-9F74-47B1-9B13-E90AD481EECC}">
      <dgm:prSet phldrT="[Texte]" custT="1"/>
      <dgm:spPr>
        <a:solidFill>
          <a:srgbClr val="002060"/>
        </a:solidFill>
      </dgm:spPr>
      <dgm:t>
        <a:bodyPr/>
        <a:lstStyle/>
        <a:p>
          <a:r>
            <a:rPr lang="fr-FR" sz="1200" dirty="0" smtClean="0"/>
            <a:t>Cartographie des processus</a:t>
          </a:r>
          <a:endParaRPr lang="fr-FR" sz="1100" dirty="0"/>
        </a:p>
      </dgm:t>
    </dgm:pt>
    <dgm:pt modelId="{8F0190A3-9F91-4049-B8CE-B6E388350638}" type="parTrans" cxnId="{A79A0B4A-D1AC-47B0-A1C1-5CC671BA246D}">
      <dgm:prSet/>
      <dgm:spPr/>
      <dgm:t>
        <a:bodyPr/>
        <a:lstStyle/>
        <a:p>
          <a:endParaRPr lang="fr-FR"/>
        </a:p>
      </dgm:t>
    </dgm:pt>
    <dgm:pt modelId="{0E1DA99B-FEDA-49F6-9388-EDDB315D8FD4}" type="sibTrans" cxnId="{A79A0B4A-D1AC-47B0-A1C1-5CC671BA246D}">
      <dgm:prSet/>
      <dgm:spPr/>
      <dgm:t>
        <a:bodyPr/>
        <a:lstStyle/>
        <a:p>
          <a:endParaRPr lang="fr-FR"/>
        </a:p>
      </dgm:t>
    </dgm:pt>
    <dgm:pt modelId="{3E29C919-EBA2-4B5F-92EA-E8F9205882AA}">
      <dgm:prSet phldrT="[Texte]" custT="1"/>
      <dgm:spPr>
        <a:solidFill>
          <a:srgbClr val="002060"/>
        </a:solidFill>
      </dgm:spPr>
      <dgm:t>
        <a:bodyPr/>
        <a:lstStyle/>
        <a:p>
          <a:r>
            <a:rPr lang="fr-FR" sz="1200" dirty="0" smtClean="0"/>
            <a:t>Catégorisation des données</a:t>
          </a:r>
          <a:endParaRPr lang="fr-FR" sz="1200" dirty="0"/>
        </a:p>
      </dgm:t>
    </dgm:pt>
    <dgm:pt modelId="{F722F98F-78B5-4ABD-AA96-CD6B9808F374}" type="parTrans" cxnId="{B0EF587F-291B-4395-A825-9D1C4CE072C7}">
      <dgm:prSet/>
      <dgm:spPr/>
      <dgm:t>
        <a:bodyPr/>
        <a:lstStyle/>
        <a:p>
          <a:endParaRPr lang="fr-FR"/>
        </a:p>
      </dgm:t>
    </dgm:pt>
    <dgm:pt modelId="{14F7E6B2-B5C3-4506-9D06-57D7A49BC2BC}" type="sibTrans" cxnId="{B0EF587F-291B-4395-A825-9D1C4CE072C7}">
      <dgm:prSet/>
      <dgm:spPr/>
      <dgm:t>
        <a:bodyPr/>
        <a:lstStyle/>
        <a:p>
          <a:endParaRPr lang="fr-FR"/>
        </a:p>
      </dgm:t>
    </dgm:pt>
    <dgm:pt modelId="{FA1A8CA0-166E-4793-9FB5-1D89FEEDFED8}">
      <dgm:prSet phldrT="[Texte]" custT="1"/>
      <dgm:spPr>
        <a:solidFill>
          <a:srgbClr val="002060"/>
        </a:solidFill>
      </dgm:spPr>
      <dgm:t>
        <a:bodyPr/>
        <a:lstStyle/>
        <a:p>
          <a:r>
            <a:rPr lang="fr-FR" sz="1200" dirty="0" smtClean="0"/>
            <a:t>Certification  auditée (PIA)</a:t>
          </a:r>
          <a:endParaRPr lang="fr-FR" sz="1200" dirty="0"/>
        </a:p>
      </dgm:t>
    </dgm:pt>
    <dgm:pt modelId="{9BE39A37-4630-46B8-BD3B-02C91EDC930F}" type="parTrans" cxnId="{4BB4FA7D-9FEE-4D6A-82AF-A1BBDBF256AD}">
      <dgm:prSet/>
      <dgm:spPr/>
      <dgm:t>
        <a:bodyPr/>
        <a:lstStyle/>
        <a:p>
          <a:endParaRPr lang="fr-FR"/>
        </a:p>
      </dgm:t>
    </dgm:pt>
    <dgm:pt modelId="{CD9E6D59-F255-4ADB-8C38-892B9C3F47F3}" type="sibTrans" cxnId="{4BB4FA7D-9FEE-4D6A-82AF-A1BBDBF256AD}">
      <dgm:prSet/>
      <dgm:spPr/>
      <dgm:t>
        <a:bodyPr/>
        <a:lstStyle/>
        <a:p>
          <a:endParaRPr lang="fr-FR"/>
        </a:p>
      </dgm:t>
    </dgm:pt>
    <dgm:pt modelId="{DB72C3B0-D992-4A04-8CB0-6D76A3C52916}">
      <dgm:prSet phldrT="[Texte]" custT="1"/>
      <dgm:spPr>
        <a:solidFill>
          <a:srgbClr val="002060"/>
        </a:solidFill>
      </dgm:spPr>
      <dgm:t>
        <a:bodyPr/>
        <a:lstStyle/>
        <a:p>
          <a:r>
            <a:rPr lang="fr-FR" sz="1200" dirty="0" smtClean="0"/>
            <a:t>Registre de traitements</a:t>
          </a:r>
          <a:endParaRPr lang="fr-FR" sz="1200" dirty="0"/>
        </a:p>
      </dgm:t>
    </dgm:pt>
    <dgm:pt modelId="{12B4C33B-70EC-4620-85D8-EBEAF83EE905}" type="parTrans" cxnId="{CA88A5E1-40A7-4036-921E-56100DED9359}">
      <dgm:prSet/>
      <dgm:spPr/>
      <dgm:t>
        <a:bodyPr/>
        <a:lstStyle/>
        <a:p>
          <a:endParaRPr lang="fr-BE"/>
        </a:p>
      </dgm:t>
    </dgm:pt>
    <dgm:pt modelId="{80D1760B-881A-4B36-9917-DAABE5271237}" type="sibTrans" cxnId="{CA88A5E1-40A7-4036-921E-56100DED9359}">
      <dgm:prSet/>
      <dgm:spPr/>
      <dgm:t>
        <a:bodyPr/>
        <a:lstStyle/>
        <a:p>
          <a:endParaRPr lang="fr-BE"/>
        </a:p>
      </dgm:t>
    </dgm:pt>
    <dgm:pt modelId="{2E79D732-C0AE-4E8B-90B0-F14C94222DBA}">
      <dgm:prSet/>
      <dgm:spPr>
        <a:solidFill>
          <a:srgbClr val="002060"/>
        </a:solidFill>
      </dgm:spPr>
      <dgm:t>
        <a:bodyPr/>
        <a:lstStyle/>
        <a:p>
          <a:r>
            <a:rPr lang="fr-BE" dirty="0" smtClean="0"/>
            <a:t>Modèle </a:t>
          </a:r>
          <a:r>
            <a:rPr lang="fr-BE" dirty="0" err="1" smtClean="0"/>
            <a:t>fct</a:t>
          </a:r>
          <a:r>
            <a:rPr lang="fr-BE" dirty="0" smtClean="0"/>
            <a:t> (finalité, localisation)</a:t>
          </a:r>
          <a:endParaRPr lang="fr-BE" dirty="0"/>
        </a:p>
      </dgm:t>
    </dgm:pt>
    <dgm:pt modelId="{B29F84A5-15E3-477E-BC85-8C6346B08838}" type="parTrans" cxnId="{39D129C0-D310-4D07-9804-6C76A4295EC4}">
      <dgm:prSet/>
      <dgm:spPr/>
      <dgm:t>
        <a:bodyPr/>
        <a:lstStyle/>
        <a:p>
          <a:endParaRPr lang="fr-BE"/>
        </a:p>
      </dgm:t>
    </dgm:pt>
    <dgm:pt modelId="{7B6C36B9-933C-415E-B986-02D51BD676A3}" type="sibTrans" cxnId="{39D129C0-D310-4D07-9804-6C76A4295EC4}">
      <dgm:prSet/>
      <dgm:spPr/>
      <dgm:t>
        <a:bodyPr/>
        <a:lstStyle/>
        <a:p>
          <a:endParaRPr lang="fr-BE"/>
        </a:p>
      </dgm:t>
    </dgm:pt>
    <dgm:pt modelId="{A8F177C2-56BD-49F9-BCB1-5E9F3E4E6F85}" type="pres">
      <dgm:prSet presAssocID="{25FFB459-BDE0-4C4A-845F-724C4D833879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fr-BE"/>
        </a:p>
      </dgm:t>
    </dgm:pt>
    <dgm:pt modelId="{64CB180A-A61E-4189-A25E-A0213A3E05FC}" type="pres">
      <dgm:prSet presAssocID="{25FFB459-BDE0-4C4A-845F-724C4D833879}" presName="Name1" presStyleCnt="0"/>
      <dgm:spPr/>
    </dgm:pt>
    <dgm:pt modelId="{21B2D0BF-C437-4DBA-BB85-EF9CF09D35CD}" type="pres">
      <dgm:prSet presAssocID="{25FFB459-BDE0-4C4A-845F-724C4D833879}" presName="cycle" presStyleCnt="0"/>
      <dgm:spPr/>
    </dgm:pt>
    <dgm:pt modelId="{244B40B6-9C2F-4689-8933-18FDDE020483}" type="pres">
      <dgm:prSet presAssocID="{25FFB459-BDE0-4C4A-845F-724C4D833879}" presName="srcNode" presStyleLbl="node1" presStyleIdx="0" presStyleCnt="5"/>
      <dgm:spPr/>
    </dgm:pt>
    <dgm:pt modelId="{EC34EAFA-82B2-4E56-BEE0-F534DA6A3479}" type="pres">
      <dgm:prSet presAssocID="{25FFB459-BDE0-4C4A-845F-724C4D833879}" presName="conn" presStyleLbl="parChTrans1D2" presStyleIdx="0" presStyleCnt="1"/>
      <dgm:spPr/>
      <dgm:t>
        <a:bodyPr/>
        <a:lstStyle/>
        <a:p>
          <a:endParaRPr lang="fr-BE"/>
        </a:p>
      </dgm:t>
    </dgm:pt>
    <dgm:pt modelId="{2417BEC8-6E1B-4928-A51A-984D2C91BFB2}" type="pres">
      <dgm:prSet presAssocID="{25FFB459-BDE0-4C4A-845F-724C4D833879}" presName="extraNode" presStyleLbl="node1" presStyleIdx="0" presStyleCnt="5"/>
      <dgm:spPr/>
    </dgm:pt>
    <dgm:pt modelId="{55A0ACCE-E7B7-4289-AF79-E1323B0FDFE9}" type="pres">
      <dgm:prSet presAssocID="{25FFB459-BDE0-4C4A-845F-724C4D833879}" presName="dstNode" presStyleLbl="node1" presStyleIdx="0" presStyleCnt="5"/>
      <dgm:spPr/>
    </dgm:pt>
    <dgm:pt modelId="{AEFE5010-F9D5-443C-B31C-0A4BFC0E7AA2}" type="pres">
      <dgm:prSet presAssocID="{BD0D9A70-9F74-47B1-9B13-E90AD481EECC}" presName="text_1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AAA9E397-D362-4BD7-B4A7-93E61E39D0F1}" type="pres">
      <dgm:prSet presAssocID="{BD0D9A70-9F74-47B1-9B13-E90AD481EECC}" presName="accent_1" presStyleCnt="0"/>
      <dgm:spPr/>
    </dgm:pt>
    <dgm:pt modelId="{DA634839-97D9-4A7F-89B0-5FE9B941A908}" type="pres">
      <dgm:prSet presAssocID="{BD0D9A70-9F74-47B1-9B13-E90AD481EECC}" presName="accentRepeatNode" presStyleLbl="solidFgAcc1" presStyleIdx="0" presStyleCnt="5"/>
      <dgm:spPr/>
    </dgm:pt>
    <dgm:pt modelId="{88CF4552-8F47-481F-A3FA-780F9DFEC56D}" type="pres">
      <dgm:prSet presAssocID="{3E29C919-EBA2-4B5F-92EA-E8F9205882AA}" presName="text_2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FF78ACA5-8420-41C2-8829-B61F267C3775}" type="pres">
      <dgm:prSet presAssocID="{3E29C919-EBA2-4B5F-92EA-E8F9205882AA}" presName="accent_2" presStyleCnt="0"/>
      <dgm:spPr/>
    </dgm:pt>
    <dgm:pt modelId="{E2428A20-C205-41B8-BBA3-6EE1310CBC53}" type="pres">
      <dgm:prSet presAssocID="{3E29C919-EBA2-4B5F-92EA-E8F9205882AA}" presName="accentRepeatNode" presStyleLbl="solidFgAcc1" presStyleIdx="1" presStyleCnt="5"/>
      <dgm:spPr/>
    </dgm:pt>
    <dgm:pt modelId="{4DAF24BB-1246-4953-A765-D641A21F5214}" type="pres">
      <dgm:prSet presAssocID="{2E79D732-C0AE-4E8B-90B0-F14C94222DBA}" presName="text_3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33351170-3ED8-4598-8096-A3E1BC9ACAAF}" type="pres">
      <dgm:prSet presAssocID="{2E79D732-C0AE-4E8B-90B0-F14C94222DBA}" presName="accent_3" presStyleCnt="0"/>
      <dgm:spPr/>
    </dgm:pt>
    <dgm:pt modelId="{679ED4DC-F966-4936-91C2-ADA60FC2F378}" type="pres">
      <dgm:prSet presAssocID="{2E79D732-C0AE-4E8B-90B0-F14C94222DBA}" presName="accentRepeatNode" presStyleLbl="solidFgAcc1" presStyleIdx="2" presStyleCnt="5"/>
      <dgm:spPr/>
    </dgm:pt>
    <dgm:pt modelId="{E45B41C5-CFB8-4100-A9F0-494F9533B386}" type="pres">
      <dgm:prSet presAssocID="{FA1A8CA0-166E-4793-9FB5-1D89FEEDFED8}" presName="text_4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E21FD35B-4A35-41FA-A8C0-D976D7963C8E}" type="pres">
      <dgm:prSet presAssocID="{FA1A8CA0-166E-4793-9FB5-1D89FEEDFED8}" presName="accent_4" presStyleCnt="0"/>
      <dgm:spPr/>
    </dgm:pt>
    <dgm:pt modelId="{68F1340E-9D70-4E47-A56B-A62D8A875EFB}" type="pres">
      <dgm:prSet presAssocID="{FA1A8CA0-166E-4793-9FB5-1D89FEEDFED8}" presName="accentRepeatNode" presStyleLbl="solidFgAcc1" presStyleIdx="3" presStyleCnt="5"/>
      <dgm:spPr/>
    </dgm:pt>
    <dgm:pt modelId="{A06FCA50-FF0F-41FF-B374-778A74D0D4C7}" type="pres">
      <dgm:prSet presAssocID="{DB72C3B0-D992-4A04-8CB0-6D76A3C52916}" presName="text_5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AE8EE19B-8F1C-423B-9790-802FA12EEDDA}" type="pres">
      <dgm:prSet presAssocID="{DB72C3B0-D992-4A04-8CB0-6D76A3C52916}" presName="accent_5" presStyleCnt="0"/>
      <dgm:spPr/>
    </dgm:pt>
    <dgm:pt modelId="{FE6EA34A-EE37-4E07-967E-5945F481AC39}" type="pres">
      <dgm:prSet presAssocID="{DB72C3B0-D992-4A04-8CB0-6D76A3C52916}" presName="accentRepeatNode" presStyleLbl="solidFgAcc1" presStyleIdx="4" presStyleCnt="5"/>
      <dgm:spPr/>
    </dgm:pt>
  </dgm:ptLst>
  <dgm:cxnLst>
    <dgm:cxn modelId="{39D129C0-D310-4D07-9804-6C76A4295EC4}" srcId="{25FFB459-BDE0-4C4A-845F-724C4D833879}" destId="{2E79D732-C0AE-4E8B-90B0-F14C94222DBA}" srcOrd="2" destOrd="0" parTransId="{B29F84A5-15E3-477E-BC85-8C6346B08838}" sibTransId="{7B6C36B9-933C-415E-B986-02D51BD676A3}"/>
    <dgm:cxn modelId="{17A2BF43-A5BE-4992-A5CB-6B678F0D29E1}" type="presOf" srcId="{2E79D732-C0AE-4E8B-90B0-F14C94222DBA}" destId="{4DAF24BB-1246-4953-A765-D641A21F5214}" srcOrd="0" destOrd="0" presId="urn:microsoft.com/office/officeart/2008/layout/VerticalCurvedList"/>
    <dgm:cxn modelId="{069E690C-75E6-4262-995B-A41665649E6E}" type="presOf" srcId="{25FFB459-BDE0-4C4A-845F-724C4D833879}" destId="{A8F177C2-56BD-49F9-BCB1-5E9F3E4E6F85}" srcOrd="0" destOrd="0" presId="urn:microsoft.com/office/officeart/2008/layout/VerticalCurvedList"/>
    <dgm:cxn modelId="{4BB4FA7D-9FEE-4D6A-82AF-A1BBDBF256AD}" srcId="{25FFB459-BDE0-4C4A-845F-724C4D833879}" destId="{FA1A8CA0-166E-4793-9FB5-1D89FEEDFED8}" srcOrd="3" destOrd="0" parTransId="{9BE39A37-4630-46B8-BD3B-02C91EDC930F}" sibTransId="{CD9E6D59-F255-4ADB-8C38-892B9C3F47F3}"/>
    <dgm:cxn modelId="{E2123910-687C-495A-BBAB-438E70A0B12E}" type="presOf" srcId="{BD0D9A70-9F74-47B1-9B13-E90AD481EECC}" destId="{AEFE5010-F9D5-443C-B31C-0A4BFC0E7AA2}" srcOrd="0" destOrd="0" presId="urn:microsoft.com/office/officeart/2008/layout/VerticalCurvedList"/>
    <dgm:cxn modelId="{761845F8-6086-4860-B7DD-A8B9FDA70886}" type="presOf" srcId="{DB72C3B0-D992-4A04-8CB0-6D76A3C52916}" destId="{A06FCA50-FF0F-41FF-B374-778A74D0D4C7}" srcOrd="0" destOrd="0" presId="urn:microsoft.com/office/officeart/2008/layout/VerticalCurvedList"/>
    <dgm:cxn modelId="{CA88A5E1-40A7-4036-921E-56100DED9359}" srcId="{25FFB459-BDE0-4C4A-845F-724C4D833879}" destId="{DB72C3B0-D992-4A04-8CB0-6D76A3C52916}" srcOrd="4" destOrd="0" parTransId="{12B4C33B-70EC-4620-85D8-EBEAF83EE905}" sibTransId="{80D1760B-881A-4B36-9917-DAABE5271237}"/>
    <dgm:cxn modelId="{096D9D1B-BE1B-454C-A78E-50D94B86B90F}" type="presOf" srcId="{FA1A8CA0-166E-4793-9FB5-1D89FEEDFED8}" destId="{E45B41C5-CFB8-4100-A9F0-494F9533B386}" srcOrd="0" destOrd="0" presId="urn:microsoft.com/office/officeart/2008/layout/VerticalCurvedList"/>
    <dgm:cxn modelId="{D76405D6-A3C2-4F96-8E0E-F3EC4C69BA75}" type="presOf" srcId="{0E1DA99B-FEDA-49F6-9388-EDDB315D8FD4}" destId="{EC34EAFA-82B2-4E56-BEE0-F534DA6A3479}" srcOrd="0" destOrd="0" presId="urn:microsoft.com/office/officeart/2008/layout/VerticalCurvedList"/>
    <dgm:cxn modelId="{5DBAD6D8-C456-4CBC-B363-B48EAE49EEDB}" type="presOf" srcId="{3E29C919-EBA2-4B5F-92EA-E8F9205882AA}" destId="{88CF4552-8F47-481F-A3FA-780F9DFEC56D}" srcOrd="0" destOrd="0" presId="urn:microsoft.com/office/officeart/2008/layout/VerticalCurvedList"/>
    <dgm:cxn modelId="{A79A0B4A-D1AC-47B0-A1C1-5CC671BA246D}" srcId="{25FFB459-BDE0-4C4A-845F-724C4D833879}" destId="{BD0D9A70-9F74-47B1-9B13-E90AD481EECC}" srcOrd="0" destOrd="0" parTransId="{8F0190A3-9F91-4049-B8CE-B6E388350638}" sibTransId="{0E1DA99B-FEDA-49F6-9388-EDDB315D8FD4}"/>
    <dgm:cxn modelId="{B0EF587F-291B-4395-A825-9D1C4CE072C7}" srcId="{25FFB459-BDE0-4C4A-845F-724C4D833879}" destId="{3E29C919-EBA2-4B5F-92EA-E8F9205882AA}" srcOrd="1" destOrd="0" parTransId="{F722F98F-78B5-4ABD-AA96-CD6B9808F374}" sibTransId="{14F7E6B2-B5C3-4506-9D06-57D7A49BC2BC}"/>
    <dgm:cxn modelId="{544CEAC4-193A-48DD-9A74-97CEB54E7265}" type="presParOf" srcId="{A8F177C2-56BD-49F9-BCB1-5E9F3E4E6F85}" destId="{64CB180A-A61E-4189-A25E-A0213A3E05FC}" srcOrd="0" destOrd="0" presId="urn:microsoft.com/office/officeart/2008/layout/VerticalCurvedList"/>
    <dgm:cxn modelId="{3E3269C8-2D41-4CF1-8C5F-6E1929855EA2}" type="presParOf" srcId="{64CB180A-A61E-4189-A25E-A0213A3E05FC}" destId="{21B2D0BF-C437-4DBA-BB85-EF9CF09D35CD}" srcOrd="0" destOrd="0" presId="urn:microsoft.com/office/officeart/2008/layout/VerticalCurvedList"/>
    <dgm:cxn modelId="{D795C644-7EB0-466F-8F80-104B1B151BDB}" type="presParOf" srcId="{21B2D0BF-C437-4DBA-BB85-EF9CF09D35CD}" destId="{244B40B6-9C2F-4689-8933-18FDDE020483}" srcOrd="0" destOrd="0" presId="urn:microsoft.com/office/officeart/2008/layout/VerticalCurvedList"/>
    <dgm:cxn modelId="{F9674EBE-AF3B-4EC7-BD84-BB0521B9B767}" type="presParOf" srcId="{21B2D0BF-C437-4DBA-BB85-EF9CF09D35CD}" destId="{EC34EAFA-82B2-4E56-BEE0-F534DA6A3479}" srcOrd="1" destOrd="0" presId="urn:microsoft.com/office/officeart/2008/layout/VerticalCurvedList"/>
    <dgm:cxn modelId="{D731693D-3220-4489-9F4B-09E0DF609DC4}" type="presParOf" srcId="{21B2D0BF-C437-4DBA-BB85-EF9CF09D35CD}" destId="{2417BEC8-6E1B-4928-A51A-984D2C91BFB2}" srcOrd="2" destOrd="0" presId="urn:microsoft.com/office/officeart/2008/layout/VerticalCurvedList"/>
    <dgm:cxn modelId="{FB1E6B0D-877F-4DD9-B657-893F805294D2}" type="presParOf" srcId="{21B2D0BF-C437-4DBA-BB85-EF9CF09D35CD}" destId="{55A0ACCE-E7B7-4289-AF79-E1323B0FDFE9}" srcOrd="3" destOrd="0" presId="urn:microsoft.com/office/officeart/2008/layout/VerticalCurvedList"/>
    <dgm:cxn modelId="{4E643AD0-A759-4C11-B767-D9C0AB773971}" type="presParOf" srcId="{64CB180A-A61E-4189-A25E-A0213A3E05FC}" destId="{AEFE5010-F9D5-443C-B31C-0A4BFC0E7AA2}" srcOrd="1" destOrd="0" presId="urn:microsoft.com/office/officeart/2008/layout/VerticalCurvedList"/>
    <dgm:cxn modelId="{A6DCE188-2875-45D1-9416-3AE0DDE4BE26}" type="presParOf" srcId="{64CB180A-A61E-4189-A25E-A0213A3E05FC}" destId="{AAA9E397-D362-4BD7-B4A7-93E61E39D0F1}" srcOrd="2" destOrd="0" presId="urn:microsoft.com/office/officeart/2008/layout/VerticalCurvedList"/>
    <dgm:cxn modelId="{1C7402B3-8B68-4B08-A3B6-0BF630C53975}" type="presParOf" srcId="{AAA9E397-D362-4BD7-B4A7-93E61E39D0F1}" destId="{DA634839-97D9-4A7F-89B0-5FE9B941A908}" srcOrd="0" destOrd="0" presId="urn:microsoft.com/office/officeart/2008/layout/VerticalCurvedList"/>
    <dgm:cxn modelId="{0D403F0C-09A3-4729-97AC-8F78FE8F0E9F}" type="presParOf" srcId="{64CB180A-A61E-4189-A25E-A0213A3E05FC}" destId="{88CF4552-8F47-481F-A3FA-780F9DFEC56D}" srcOrd="3" destOrd="0" presId="urn:microsoft.com/office/officeart/2008/layout/VerticalCurvedList"/>
    <dgm:cxn modelId="{1572DE68-7780-4444-B99D-1124025EC095}" type="presParOf" srcId="{64CB180A-A61E-4189-A25E-A0213A3E05FC}" destId="{FF78ACA5-8420-41C2-8829-B61F267C3775}" srcOrd="4" destOrd="0" presId="urn:microsoft.com/office/officeart/2008/layout/VerticalCurvedList"/>
    <dgm:cxn modelId="{BF18CEB4-106A-4DAF-9BFD-064048171EE6}" type="presParOf" srcId="{FF78ACA5-8420-41C2-8829-B61F267C3775}" destId="{E2428A20-C205-41B8-BBA3-6EE1310CBC53}" srcOrd="0" destOrd="0" presId="urn:microsoft.com/office/officeart/2008/layout/VerticalCurvedList"/>
    <dgm:cxn modelId="{B5CCA59F-ECF3-47E0-8E45-474483C64721}" type="presParOf" srcId="{64CB180A-A61E-4189-A25E-A0213A3E05FC}" destId="{4DAF24BB-1246-4953-A765-D641A21F5214}" srcOrd="5" destOrd="0" presId="urn:microsoft.com/office/officeart/2008/layout/VerticalCurvedList"/>
    <dgm:cxn modelId="{C02E88D2-1C7D-47FD-90BD-5FB24B30C015}" type="presParOf" srcId="{64CB180A-A61E-4189-A25E-A0213A3E05FC}" destId="{33351170-3ED8-4598-8096-A3E1BC9ACAAF}" srcOrd="6" destOrd="0" presId="urn:microsoft.com/office/officeart/2008/layout/VerticalCurvedList"/>
    <dgm:cxn modelId="{D1B4827A-885F-402F-9AF3-0FECDA77C1FE}" type="presParOf" srcId="{33351170-3ED8-4598-8096-A3E1BC9ACAAF}" destId="{679ED4DC-F966-4936-91C2-ADA60FC2F378}" srcOrd="0" destOrd="0" presId="urn:microsoft.com/office/officeart/2008/layout/VerticalCurvedList"/>
    <dgm:cxn modelId="{1F30BC3A-78B9-48E3-91BB-7B0FE71698ED}" type="presParOf" srcId="{64CB180A-A61E-4189-A25E-A0213A3E05FC}" destId="{E45B41C5-CFB8-4100-A9F0-494F9533B386}" srcOrd="7" destOrd="0" presId="urn:microsoft.com/office/officeart/2008/layout/VerticalCurvedList"/>
    <dgm:cxn modelId="{EF295599-8F8F-45DB-A5CD-55C874986934}" type="presParOf" srcId="{64CB180A-A61E-4189-A25E-A0213A3E05FC}" destId="{E21FD35B-4A35-41FA-A8C0-D976D7963C8E}" srcOrd="8" destOrd="0" presId="urn:microsoft.com/office/officeart/2008/layout/VerticalCurvedList"/>
    <dgm:cxn modelId="{F5CA8F1D-BE0A-46DA-9EFE-D384A76257CE}" type="presParOf" srcId="{E21FD35B-4A35-41FA-A8C0-D976D7963C8E}" destId="{68F1340E-9D70-4E47-A56B-A62D8A875EFB}" srcOrd="0" destOrd="0" presId="urn:microsoft.com/office/officeart/2008/layout/VerticalCurvedList"/>
    <dgm:cxn modelId="{FC22DB50-8CF5-4D18-B44B-7DEF296D6EC4}" type="presParOf" srcId="{64CB180A-A61E-4189-A25E-A0213A3E05FC}" destId="{A06FCA50-FF0F-41FF-B374-778A74D0D4C7}" srcOrd="9" destOrd="0" presId="urn:microsoft.com/office/officeart/2008/layout/VerticalCurvedList"/>
    <dgm:cxn modelId="{5AB4EC72-87D5-4E09-A463-C98C0F8C0BAF}" type="presParOf" srcId="{64CB180A-A61E-4189-A25E-A0213A3E05FC}" destId="{AE8EE19B-8F1C-423B-9790-802FA12EEDDA}" srcOrd="10" destOrd="0" presId="urn:microsoft.com/office/officeart/2008/layout/VerticalCurvedList"/>
    <dgm:cxn modelId="{AFA4EB25-8B73-4D07-AE47-1F7707574057}" type="presParOf" srcId="{AE8EE19B-8F1C-423B-9790-802FA12EEDDA}" destId="{FE6EA34A-EE37-4E07-967E-5945F481AC39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25FFB459-BDE0-4C4A-845F-724C4D833879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BD0D9A70-9F74-47B1-9B13-E90AD481EECC}">
      <dgm:prSet phldrT="[Texte]" custT="1"/>
      <dgm:spPr>
        <a:solidFill>
          <a:srgbClr val="0070C0"/>
        </a:solidFill>
        <a:ln>
          <a:noFill/>
        </a:ln>
      </dgm:spPr>
      <dgm:t>
        <a:bodyPr/>
        <a:lstStyle/>
        <a:p>
          <a:r>
            <a:rPr lang="fr-FR" sz="1200" dirty="0" smtClean="0"/>
            <a:t>Data </a:t>
          </a:r>
          <a:r>
            <a:rPr lang="fr-FR" sz="1200" dirty="0" err="1" smtClean="0"/>
            <a:t>controller</a:t>
          </a:r>
          <a:r>
            <a:rPr lang="fr-FR" sz="1200" dirty="0" smtClean="0"/>
            <a:t> / </a:t>
          </a:r>
          <a:r>
            <a:rPr lang="fr-FR" sz="1200" dirty="0" err="1" smtClean="0"/>
            <a:t>operator</a:t>
          </a:r>
          <a:r>
            <a:rPr lang="fr-FR" sz="1200" dirty="0" smtClean="0"/>
            <a:t> / DPO</a:t>
          </a:r>
          <a:endParaRPr lang="fr-FR" sz="1200" dirty="0"/>
        </a:p>
      </dgm:t>
    </dgm:pt>
    <dgm:pt modelId="{8F0190A3-9F91-4049-B8CE-B6E388350638}" type="parTrans" cxnId="{A79A0B4A-D1AC-47B0-A1C1-5CC671BA246D}">
      <dgm:prSet/>
      <dgm:spPr/>
      <dgm:t>
        <a:bodyPr/>
        <a:lstStyle/>
        <a:p>
          <a:endParaRPr lang="fr-FR"/>
        </a:p>
      </dgm:t>
    </dgm:pt>
    <dgm:pt modelId="{0E1DA99B-FEDA-49F6-9388-EDDB315D8FD4}" type="sibTrans" cxnId="{A79A0B4A-D1AC-47B0-A1C1-5CC671BA246D}">
      <dgm:prSet/>
      <dgm:spPr/>
      <dgm:t>
        <a:bodyPr/>
        <a:lstStyle/>
        <a:p>
          <a:endParaRPr lang="fr-FR"/>
        </a:p>
      </dgm:t>
    </dgm:pt>
    <dgm:pt modelId="{FA1A8CA0-166E-4793-9FB5-1D89FEEDFED8}">
      <dgm:prSet phldrT="[Texte]" custT="1"/>
      <dgm:spPr>
        <a:solidFill>
          <a:srgbClr val="0070C0"/>
        </a:solidFill>
      </dgm:spPr>
      <dgm:t>
        <a:bodyPr/>
        <a:lstStyle/>
        <a:p>
          <a:r>
            <a:rPr lang="fr-FR" sz="1200" dirty="0" smtClean="0"/>
            <a:t>Sous-traitant</a:t>
          </a:r>
          <a:endParaRPr lang="fr-FR" sz="1200" dirty="0"/>
        </a:p>
      </dgm:t>
    </dgm:pt>
    <dgm:pt modelId="{9BE39A37-4630-46B8-BD3B-02C91EDC930F}" type="parTrans" cxnId="{4BB4FA7D-9FEE-4D6A-82AF-A1BBDBF256AD}">
      <dgm:prSet/>
      <dgm:spPr/>
      <dgm:t>
        <a:bodyPr/>
        <a:lstStyle/>
        <a:p>
          <a:endParaRPr lang="fr-FR"/>
        </a:p>
      </dgm:t>
    </dgm:pt>
    <dgm:pt modelId="{CD9E6D59-F255-4ADB-8C38-892B9C3F47F3}" type="sibTrans" cxnId="{4BB4FA7D-9FEE-4D6A-82AF-A1BBDBF256AD}">
      <dgm:prSet/>
      <dgm:spPr/>
      <dgm:t>
        <a:bodyPr/>
        <a:lstStyle/>
        <a:p>
          <a:endParaRPr lang="fr-FR"/>
        </a:p>
      </dgm:t>
    </dgm:pt>
    <dgm:pt modelId="{D95DD99C-3EC0-440B-9A42-6A1EFE062D6E}">
      <dgm:prSet phldrT="[Texte]" custT="1"/>
      <dgm:spPr>
        <a:solidFill>
          <a:srgbClr val="0070C0"/>
        </a:solidFill>
      </dgm:spPr>
      <dgm:t>
        <a:bodyPr/>
        <a:lstStyle/>
        <a:p>
          <a:r>
            <a:rPr lang="fr-FR" sz="1200" dirty="0" smtClean="0"/>
            <a:t>Contrat + SLA / audit</a:t>
          </a:r>
          <a:endParaRPr lang="fr-FR" sz="1200" dirty="0"/>
        </a:p>
      </dgm:t>
    </dgm:pt>
    <dgm:pt modelId="{959AD782-76A0-44CE-900F-FD97A9E4BCE0}" type="parTrans" cxnId="{F83F0181-674C-4180-80CE-7A0265BD084D}">
      <dgm:prSet/>
      <dgm:spPr/>
      <dgm:t>
        <a:bodyPr/>
        <a:lstStyle/>
        <a:p>
          <a:endParaRPr lang="fr-BE"/>
        </a:p>
      </dgm:t>
    </dgm:pt>
    <dgm:pt modelId="{45BA8E92-59A5-4D61-AF44-300517D6F987}" type="sibTrans" cxnId="{F83F0181-674C-4180-80CE-7A0265BD084D}">
      <dgm:prSet/>
      <dgm:spPr/>
      <dgm:t>
        <a:bodyPr/>
        <a:lstStyle/>
        <a:p>
          <a:endParaRPr lang="fr-BE"/>
        </a:p>
      </dgm:t>
    </dgm:pt>
    <dgm:pt modelId="{7F97C6EB-2519-431B-A105-B33DD1C04EDC}">
      <dgm:prSet phldrT="[Texte]" custT="1"/>
      <dgm:spPr>
        <a:solidFill>
          <a:srgbClr val="0070C0"/>
        </a:solidFill>
      </dgm:spPr>
      <dgm:t>
        <a:bodyPr/>
        <a:lstStyle/>
        <a:p>
          <a:r>
            <a:rPr lang="fr-FR" sz="1200" dirty="0" smtClean="0"/>
            <a:t>Exigences (modèle adéquat)</a:t>
          </a:r>
          <a:endParaRPr lang="fr-FR" sz="1200" dirty="0"/>
        </a:p>
      </dgm:t>
    </dgm:pt>
    <dgm:pt modelId="{2D4F4C37-80D9-4431-8E10-6A090A7C0792}" type="parTrans" cxnId="{5B0CE816-1F30-49AD-98EE-6BC6E4579D49}">
      <dgm:prSet/>
      <dgm:spPr/>
      <dgm:t>
        <a:bodyPr/>
        <a:lstStyle/>
        <a:p>
          <a:endParaRPr lang="fr-BE"/>
        </a:p>
      </dgm:t>
    </dgm:pt>
    <dgm:pt modelId="{97F10DEE-8D38-4467-9D4C-B1F097DDB058}" type="sibTrans" cxnId="{5B0CE816-1F30-49AD-98EE-6BC6E4579D49}">
      <dgm:prSet/>
      <dgm:spPr/>
      <dgm:t>
        <a:bodyPr/>
        <a:lstStyle/>
        <a:p>
          <a:endParaRPr lang="fr-BE"/>
        </a:p>
      </dgm:t>
    </dgm:pt>
    <dgm:pt modelId="{A8F177C2-56BD-49F9-BCB1-5E9F3E4E6F85}" type="pres">
      <dgm:prSet presAssocID="{25FFB459-BDE0-4C4A-845F-724C4D833879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fr-BE"/>
        </a:p>
      </dgm:t>
    </dgm:pt>
    <dgm:pt modelId="{64CB180A-A61E-4189-A25E-A0213A3E05FC}" type="pres">
      <dgm:prSet presAssocID="{25FFB459-BDE0-4C4A-845F-724C4D833879}" presName="Name1" presStyleCnt="0"/>
      <dgm:spPr/>
    </dgm:pt>
    <dgm:pt modelId="{21B2D0BF-C437-4DBA-BB85-EF9CF09D35CD}" type="pres">
      <dgm:prSet presAssocID="{25FFB459-BDE0-4C4A-845F-724C4D833879}" presName="cycle" presStyleCnt="0"/>
      <dgm:spPr/>
    </dgm:pt>
    <dgm:pt modelId="{244B40B6-9C2F-4689-8933-18FDDE020483}" type="pres">
      <dgm:prSet presAssocID="{25FFB459-BDE0-4C4A-845F-724C4D833879}" presName="srcNode" presStyleLbl="node1" presStyleIdx="0" presStyleCnt="4"/>
      <dgm:spPr/>
    </dgm:pt>
    <dgm:pt modelId="{EC34EAFA-82B2-4E56-BEE0-F534DA6A3479}" type="pres">
      <dgm:prSet presAssocID="{25FFB459-BDE0-4C4A-845F-724C4D833879}" presName="conn" presStyleLbl="parChTrans1D2" presStyleIdx="0" presStyleCnt="1"/>
      <dgm:spPr/>
      <dgm:t>
        <a:bodyPr/>
        <a:lstStyle/>
        <a:p>
          <a:endParaRPr lang="fr-BE"/>
        </a:p>
      </dgm:t>
    </dgm:pt>
    <dgm:pt modelId="{2417BEC8-6E1B-4928-A51A-984D2C91BFB2}" type="pres">
      <dgm:prSet presAssocID="{25FFB459-BDE0-4C4A-845F-724C4D833879}" presName="extraNode" presStyleLbl="node1" presStyleIdx="0" presStyleCnt="4"/>
      <dgm:spPr/>
    </dgm:pt>
    <dgm:pt modelId="{55A0ACCE-E7B7-4289-AF79-E1323B0FDFE9}" type="pres">
      <dgm:prSet presAssocID="{25FFB459-BDE0-4C4A-845F-724C4D833879}" presName="dstNode" presStyleLbl="node1" presStyleIdx="0" presStyleCnt="4"/>
      <dgm:spPr/>
    </dgm:pt>
    <dgm:pt modelId="{AEFE5010-F9D5-443C-B31C-0A4BFC0E7AA2}" type="pres">
      <dgm:prSet presAssocID="{BD0D9A70-9F74-47B1-9B13-E90AD481EECC}" presName="text_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AAA9E397-D362-4BD7-B4A7-93E61E39D0F1}" type="pres">
      <dgm:prSet presAssocID="{BD0D9A70-9F74-47B1-9B13-E90AD481EECC}" presName="accent_1" presStyleCnt="0"/>
      <dgm:spPr/>
    </dgm:pt>
    <dgm:pt modelId="{DA634839-97D9-4A7F-89B0-5FE9B941A908}" type="pres">
      <dgm:prSet presAssocID="{BD0D9A70-9F74-47B1-9B13-E90AD481EECC}" presName="accentRepeatNode" presStyleLbl="solidFgAcc1" presStyleIdx="0" presStyleCnt="4"/>
      <dgm:spPr>
        <a:solidFill>
          <a:schemeClr val="bg1"/>
        </a:solidFill>
        <a:ln>
          <a:solidFill>
            <a:srgbClr val="0070C0"/>
          </a:solidFill>
        </a:ln>
      </dgm:spPr>
      <dgm:t>
        <a:bodyPr/>
        <a:lstStyle/>
        <a:p>
          <a:endParaRPr lang="fr-BE"/>
        </a:p>
      </dgm:t>
    </dgm:pt>
    <dgm:pt modelId="{895C23B2-30AA-4157-93B5-C067DD376044}" type="pres">
      <dgm:prSet presAssocID="{FA1A8CA0-166E-4793-9FB5-1D89FEEDFED8}" presName="text_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A52788FB-16A5-4660-BAE2-9916D8974E1E}" type="pres">
      <dgm:prSet presAssocID="{FA1A8CA0-166E-4793-9FB5-1D89FEEDFED8}" presName="accent_2" presStyleCnt="0"/>
      <dgm:spPr/>
    </dgm:pt>
    <dgm:pt modelId="{68F1340E-9D70-4E47-A56B-A62D8A875EFB}" type="pres">
      <dgm:prSet presAssocID="{FA1A8CA0-166E-4793-9FB5-1D89FEEDFED8}" presName="accentRepeatNode" presStyleLbl="solidFgAcc1" presStyleIdx="1" presStyleCnt="4"/>
      <dgm:spPr>
        <a:solidFill>
          <a:schemeClr val="bg1"/>
        </a:solidFill>
        <a:ln>
          <a:solidFill>
            <a:srgbClr val="0070C0"/>
          </a:solidFill>
        </a:ln>
      </dgm:spPr>
      <dgm:t>
        <a:bodyPr/>
        <a:lstStyle/>
        <a:p>
          <a:endParaRPr lang="fr-BE"/>
        </a:p>
      </dgm:t>
    </dgm:pt>
    <dgm:pt modelId="{BCFEFB93-AB51-4EB3-AD03-87AC0C6B267F}" type="pres">
      <dgm:prSet presAssocID="{D95DD99C-3EC0-440B-9A42-6A1EFE062D6E}" presName="text_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9E9FF6B5-F0F1-4921-8AA7-648174934E32}" type="pres">
      <dgm:prSet presAssocID="{D95DD99C-3EC0-440B-9A42-6A1EFE062D6E}" presName="accent_3" presStyleCnt="0"/>
      <dgm:spPr/>
    </dgm:pt>
    <dgm:pt modelId="{4BE2367F-8049-4FA0-9F5A-23560686B6E4}" type="pres">
      <dgm:prSet presAssocID="{D95DD99C-3EC0-440B-9A42-6A1EFE062D6E}" presName="accentRepeatNode" presStyleLbl="solidFgAcc1" presStyleIdx="2" presStyleCnt="4"/>
      <dgm:spPr>
        <a:solidFill>
          <a:schemeClr val="bg1"/>
        </a:solidFill>
        <a:ln>
          <a:solidFill>
            <a:srgbClr val="0070C0"/>
          </a:solidFill>
        </a:ln>
      </dgm:spPr>
      <dgm:t>
        <a:bodyPr/>
        <a:lstStyle/>
        <a:p>
          <a:endParaRPr lang="fr-BE"/>
        </a:p>
      </dgm:t>
    </dgm:pt>
    <dgm:pt modelId="{0240AA13-E82E-47C1-8361-B86C072F9BAA}" type="pres">
      <dgm:prSet presAssocID="{7F97C6EB-2519-431B-A105-B33DD1C04EDC}" presName="text_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D11853F1-57F9-4983-911B-EE7AC13E4DFD}" type="pres">
      <dgm:prSet presAssocID="{7F97C6EB-2519-431B-A105-B33DD1C04EDC}" presName="accent_4" presStyleCnt="0"/>
      <dgm:spPr/>
    </dgm:pt>
    <dgm:pt modelId="{C0E73059-3CA2-47A3-8745-6B7FD54D40AA}" type="pres">
      <dgm:prSet presAssocID="{7F97C6EB-2519-431B-A105-B33DD1C04EDC}" presName="accentRepeatNode" presStyleLbl="solidFgAcc1" presStyleIdx="3" presStyleCnt="4"/>
      <dgm:spPr>
        <a:solidFill>
          <a:schemeClr val="bg1"/>
        </a:solidFill>
        <a:ln>
          <a:solidFill>
            <a:srgbClr val="0070C0"/>
          </a:solidFill>
        </a:ln>
      </dgm:spPr>
      <dgm:t>
        <a:bodyPr/>
        <a:lstStyle/>
        <a:p>
          <a:endParaRPr lang="fr-BE"/>
        </a:p>
      </dgm:t>
    </dgm:pt>
  </dgm:ptLst>
  <dgm:cxnLst>
    <dgm:cxn modelId="{7ABBCFFF-F0ED-4BAE-ACD5-1FDFFCCC6C83}" type="presOf" srcId="{0E1DA99B-FEDA-49F6-9388-EDDB315D8FD4}" destId="{EC34EAFA-82B2-4E56-BEE0-F534DA6A3479}" srcOrd="0" destOrd="0" presId="urn:microsoft.com/office/officeart/2008/layout/VerticalCurvedList"/>
    <dgm:cxn modelId="{4BB4FA7D-9FEE-4D6A-82AF-A1BBDBF256AD}" srcId="{25FFB459-BDE0-4C4A-845F-724C4D833879}" destId="{FA1A8CA0-166E-4793-9FB5-1D89FEEDFED8}" srcOrd="1" destOrd="0" parTransId="{9BE39A37-4630-46B8-BD3B-02C91EDC930F}" sibTransId="{CD9E6D59-F255-4ADB-8C38-892B9C3F47F3}"/>
    <dgm:cxn modelId="{D8369ECA-BC8E-4368-AA21-6CD672DCFC31}" type="presOf" srcId="{25FFB459-BDE0-4C4A-845F-724C4D833879}" destId="{A8F177C2-56BD-49F9-BCB1-5E9F3E4E6F85}" srcOrd="0" destOrd="0" presId="urn:microsoft.com/office/officeart/2008/layout/VerticalCurvedList"/>
    <dgm:cxn modelId="{D51F6B01-2E9C-49F6-8DC9-2E032A8716E2}" type="presOf" srcId="{BD0D9A70-9F74-47B1-9B13-E90AD481EECC}" destId="{AEFE5010-F9D5-443C-B31C-0A4BFC0E7AA2}" srcOrd="0" destOrd="0" presId="urn:microsoft.com/office/officeart/2008/layout/VerticalCurvedList"/>
    <dgm:cxn modelId="{724D82EC-A9C9-410E-9757-0BBD3F0F0EE8}" type="presOf" srcId="{7F97C6EB-2519-431B-A105-B33DD1C04EDC}" destId="{0240AA13-E82E-47C1-8361-B86C072F9BAA}" srcOrd="0" destOrd="0" presId="urn:microsoft.com/office/officeart/2008/layout/VerticalCurvedList"/>
    <dgm:cxn modelId="{A79A0B4A-D1AC-47B0-A1C1-5CC671BA246D}" srcId="{25FFB459-BDE0-4C4A-845F-724C4D833879}" destId="{BD0D9A70-9F74-47B1-9B13-E90AD481EECC}" srcOrd="0" destOrd="0" parTransId="{8F0190A3-9F91-4049-B8CE-B6E388350638}" sibTransId="{0E1DA99B-FEDA-49F6-9388-EDDB315D8FD4}"/>
    <dgm:cxn modelId="{0AD545F8-9E35-46AC-BB36-A141CE6440BD}" type="presOf" srcId="{FA1A8CA0-166E-4793-9FB5-1D89FEEDFED8}" destId="{895C23B2-30AA-4157-93B5-C067DD376044}" srcOrd="0" destOrd="0" presId="urn:microsoft.com/office/officeart/2008/layout/VerticalCurvedList"/>
    <dgm:cxn modelId="{F83F0181-674C-4180-80CE-7A0265BD084D}" srcId="{25FFB459-BDE0-4C4A-845F-724C4D833879}" destId="{D95DD99C-3EC0-440B-9A42-6A1EFE062D6E}" srcOrd="2" destOrd="0" parTransId="{959AD782-76A0-44CE-900F-FD97A9E4BCE0}" sibTransId="{45BA8E92-59A5-4D61-AF44-300517D6F987}"/>
    <dgm:cxn modelId="{9C35162C-B0C2-4ED0-A099-CAB5281A9654}" type="presOf" srcId="{D95DD99C-3EC0-440B-9A42-6A1EFE062D6E}" destId="{BCFEFB93-AB51-4EB3-AD03-87AC0C6B267F}" srcOrd="0" destOrd="0" presId="urn:microsoft.com/office/officeart/2008/layout/VerticalCurvedList"/>
    <dgm:cxn modelId="{5B0CE816-1F30-49AD-98EE-6BC6E4579D49}" srcId="{25FFB459-BDE0-4C4A-845F-724C4D833879}" destId="{7F97C6EB-2519-431B-A105-B33DD1C04EDC}" srcOrd="3" destOrd="0" parTransId="{2D4F4C37-80D9-4431-8E10-6A090A7C0792}" sibTransId="{97F10DEE-8D38-4467-9D4C-B1F097DDB058}"/>
    <dgm:cxn modelId="{B9FA28FE-A753-476F-B9D1-889E8171082B}" type="presParOf" srcId="{A8F177C2-56BD-49F9-BCB1-5E9F3E4E6F85}" destId="{64CB180A-A61E-4189-A25E-A0213A3E05FC}" srcOrd="0" destOrd="0" presId="urn:microsoft.com/office/officeart/2008/layout/VerticalCurvedList"/>
    <dgm:cxn modelId="{8C23F686-4A25-4685-99B6-B558BF739C91}" type="presParOf" srcId="{64CB180A-A61E-4189-A25E-A0213A3E05FC}" destId="{21B2D0BF-C437-4DBA-BB85-EF9CF09D35CD}" srcOrd="0" destOrd="0" presId="urn:microsoft.com/office/officeart/2008/layout/VerticalCurvedList"/>
    <dgm:cxn modelId="{C4AC9754-98FE-445D-AD0A-3F4F55256B6F}" type="presParOf" srcId="{21B2D0BF-C437-4DBA-BB85-EF9CF09D35CD}" destId="{244B40B6-9C2F-4689-8933-18FDDE020483}" srcOrd="0" destOrd="0" presId="urn:microsoft.com/office/officeart/2008/layout/VerticalCurvedList"/>
    <dgm:cxn modelId="{013F96AC-8C87-4D95-A5AD-C4862ED70F5B}" type="presParOf" srcId="{21B2D0BF-C437-4DBA-BB85-EF9CF09D35CD}" destId="{EC34EAFA-82B2-4E56-BEE0-F534DA6A3479}" srcOrd="1" destOrd="0" presId="urn:microsoft.com/office/officeart/2008/layout/VerticalCurvedList"/>
    <dgm:cxn modelId="{6A4B3A92-EC92-48AD-9ED3-4EA42E7EED47}" type="presParOf" srcId="{21B2D0BF-C437-4DBA-BB85-EF9CF09D35CD}" destId="{2417BEC8-6E1B-4928-A51A-984D2C91BFB2}" srcOrd="2" destOrd="0" presId="urn:microsoft.com/office/officeart/2008/layout/VerticalCurvedList"/>
    <dgm:cxn modelId="{EAA85BF2-433D-402F-8DDE-3050182D980C}" type="presParOf" srcId="{21B2D0BF-C437-4DBA-BB85-EF9CF09D35CD}" destId="{55A0ACCE-E7B7-4289-AF79-E1323B0FDFE9}" srcOrd="3" destOrd="0" presId="urn:microsoft.com/office/officeart/2008/layout/VerticalCurvedList"/>
    <dgm:cxn modelId="{E1E64F5C-1654-47BC-88DF-B398310FEA08}" type="presParOf" srcId="{64CB180A-A61E-4189-A25E-A0213A3E05FC}" destId="{AEFE5010-F9D5-443C-B31C-0A4BFC0E7AA2}" srcOrd="1" destOrd="0" presId="urn:microsoft.com/office/officeart/2008/layout/VerticalCurvedList"/>
    <dgm:cxn modelId="{1BBF422F-4C1A-4C57-A6AE-56F2B2691BBA}" type="presParOf" srcId="{64CB180A-A61E-4189-A25E-A0213A3E05FC}" destId="{AAA9E397-D362-4BD7-B4A7-93E61E39D0F1}" srcOrd="2" destOrd="0" presId="urn:microsoft.com/office/officeart/2008/layout/VerticalCurvedList"/>
    <dgm:cxn modelId="{BDEA963F-6395-4E6C-A113-3E5EE4E4BCAD}" type="presParOf" srcId="{AAA9E397-D362-4BD7-B4A7-93E61E39D0F1}" destId="{DA634839-97D9-4A7F-89B0-5FE9B941A908}" srcOrd="0" destOrd="0" presId="urn:microsoft.com/office/officeart/2008/layout/VerticalCurvedList"/>
    <dgm:cxn modelId="{5B317612-4618-4C4B-90D6-9D3DDDE3724F}" type="presParOf" srcId="{64CB180A-A61E-4189-A25E-A0213A3E05FC}" destId="{895C23B2-30AA-4157-93B5-C067DD376044}" srcOrd="3" destOrd="0" presId="urn:microsoft.com/office/officeart/2008/layout/VerticalCurvedList"/>
    <dgm:cxn modelId="{25EF3CC9-26A2-4ABE-82E6-5F57653AE876}" type="presParOf" srcId="{64CB180A-A61E-4189-A25E-A0213A3E05FC}" destId="{A52788FB-16A5-4660-BAE2-9916D8974E1E}" srcOrd="4" destOrd="0" presId="urn:microsoft.com/office/officeart/2008/layout/VerticalCurvedList"/>
    <dgm:cxn modelId="{380A720F-5D3B-4738-9661-076888F15D91}" type="presParOf" srcId="{A52788FB-16A5-4660-BAE2-9916D8974E1E}" destId="{68F1340E-9D70-4E47-A56B-A62D8A875EFB}" srcOrd="0" destOrd="0" presId="urn:microsoft.com/office/officeart/2008/layout/VerticalCurvedList"/>
    <dgm:cxn modelId="{4DDF4DE3-62C5-4027-8F79-9C24C0D8DD30}" type="presParOf" srcId="{64CB180A-A61E-4189-A25E-A0213A3E05FC}" destId="{BCFEFB93-AB51-4EB3-AD03-87AC0C6B267F}" srcOrd="5" destOrd="0" presId="urn:microsoft.com/office/officeart/2008/layout/VerticalCurvedList"/>
    <dgm:cxn modelId="{53D15517-B96A-4604-9B0E-E8B125D42265}" type="presParOf" srcId="{64CB180A-A61E-4189-A25E-A0213A3E05FC}" destId="{9E9FF6B5-F0F1-4921-8AA7-648174934E32}" srcOrd="6" destOrd="0" presId="urn:microsoft.com/office/officeart/2008/layout/VerticalCurvedList"/>
    <dgm:cxn modelId="{5710E66B-71BB-46C2-AC6D-5C95B742F24D}" type="presParOf" srcId="{9E9FF6B5-F0F1-4921-8AA7-648174934E32}" destId="{4BE2367F-8049-4FA0-9F5A-23560686B6E4}" srcOrd="0" destOrd="0" presId="urn:microsoft.com/office/officeart/2008/layout/VerticalCurvedList"/>
    <dgm:cxn modelId="{149CBF56-B258-4BCE-9E41-AFF940A8F025}" type="presParOf" srcId="{64CB180A-A61E-4189-A25E-A0213A3E05FC}" destId="{0240AA13-E82E-47C1-8361-B86C072F9BAA}" srcOrd="7" destOrd="0" presId="urn:microsoft.com/office/officeart/2008/layout/VerticalCurvedList"/>
    <dgm:cxn modelId="{6E671D37-2812-46B3-BC41-5C1BEE7FC0A7}" type="presParOf" srcId="{64CB180A-A61E-4189-A25E-A0213A3E05FC}" destId="{D11853F1-57F9-4983-911B-EE7AC13E4DFD}" srcOrd="8" destOrd="0" presId="urn:microsoft.com/office/officeart/2008/layout/VerticalCurvedList"/>
    <dgm:cxn modelId="{60536DBA-A81F-49DB-B174-275A0D7552BE}" type="presParOf" srcId="{D11853F1-57F9-4983-911B-EE7AC13E4DFD}" destId="{C0E73059-3CA2-47A3-8745-6B7FD54D40AA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25FFB459-BDE0-4C4A-845F-724C4D833879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BD0D9A70-9F74-47B1-9B13-E90AD481EECC}">
      <dgm:prSet phldrT="[Texte]" custT="1"/>
      <dgm:spPr>
        <a:solidFill>
          <a:srgbClr val="0070C0"/>
        </a:solidFill>
      </dgm:spPr>
      <dgm:t>
        <a:bodyPr/>
        <a:lstStyle/>
        <a:p>
          <a:r>
            <a:rPr lang="fr-FR" sz="1100" dirty="0" smtClean="0"/>
            <a:t>Droit de regard / consultation</a:t>
          </a:r>
          <a:endParaRPr lang="fr-FR" sz="1050" dirty="0"/>
        </a:p>
      </dgm:t>
    </dgm:pt>
    <dgm:pt modelId="{8F0190A3-9F91-4049-B8CE-B6E388350638}" type="parTrans" cxnId="{A79A0B4A-D1AC-47B0-A1C1-5CC671BA246D}">
      <dgm:prSet/>
      <dgm:spPr/>
      <dgm:t>
        <a:bodyPr/>
        <a:lstStyle/>
        <a:p>
          <a:endParaRPr lang="fr-FR"/>
        </a:p>
      </dgm:t>
    </dgm:pt>
    <dgm:pt modelId="{0E1DA99B-FEDA-49F6-9388-EDDB315D8FD4}" type="sibTrans" cxnId="{A79A0B4A-D1AC-47B0-A1C1-5CC671BA246D}">
      <dgm:prSet/>
      <dgm:spPr/>
      <dgm:t>
        <a:bodyPr/>
        <a:lstStyle/>
        <a:p>
          <a:endParaRPr lang="fr-FR"/>
        </a:p>
      </dgm:t>
    </dgm:pt>
    <dgm:pt modelId="{3E29C919-EBA2-4B5F-92EA-E8F9205882AA}">
      <dgm:prSet phldrT="[Texte]" custT="1"/>
      <dgm:spPr>
        <a:solidFill>
          <a:srgbClr val="0070C0"/>
        </a:solidFill>
      </dgm:spPr>
      <dgm:t>
        <a:bodyPr/>
        <a:lstStyle/>
        <a:p>
          <a:r>
            <a:rPr lang="fr-FR" sz="1100" dirty="0" smtClean="0"/>
            <a:t>Rectification / effacement</a:t>
          </a:r>
          <a:endParaRPr lang="fr-FR" sz="1100" dirty="0"/>
        </a:p>
      </dgm:t>
    </dgm:pt>
    <dgm:pt modelId="{F722F98F-78B5-4ABD-AA96-CD6B9808F374}" type="parTrans" cxnId="{B0EF587F-291B-4395-A825-9D1C4CE072C7}">
      <dgm:prSet/>
      <dgm:spPr/>
      <dgm:t>
        <a:bodyPr/>
        <a:lstStyle/>
        <a:p>
          <a:endParaRPr lang="fr-FR"/>
        </a:p>
      </dgm:t>
    </dgm:pt>
    <dgm:pt modelId="{14F7E6B2-B5C3-4506-9D06-57D7A49BC2BC}" type="sibTrans" cxnId="{B0EF587F-291B-4395-A825-9D1C4CE072C7}">
      <dgm:prSet/>
      <dgm:spPr/>
      <dgm:t>
        <a:bodyPr/>
        <a:lstStyle/>
        <a:p>
          <a:endParaRPr lang="fr-FR"/>
        </a:p>
      </dgm:t>
    </dgm:pt>
    <dgm:pt modelId="{FA1A8CA0-166E-4793-9FB5-1D89FEEDFED8}">
      <dgm:prSet phldrT="[Texte]" custT="1"/>
      <dgm:spPr>
        <a:solidFill>
          <a:srgbClr val="0070C0"/>
        </a:solidFill>
      </dgm:spPr>
      <dgm:t>
        <a:bodyPr/>
        <a:lstStyle/>
        <a:p>
          <a:r>
            <a:rPr lang="fr-FR" sz="1050" dirty="0" smtClean="0"/>
            <a:t>portabilité</a:t>
          </a:r>
          <a:endParaRPr lang="fr-FR" sz="1100" dirty="0"/>
        </a:p>
      </dgm:t>
    </dgm:pt>
    <dgm:pt modelId="{9BE39A37-4630-46B8-BD3B-02C91EDC930F}" type="parTrans" cxnId="{4BB4FA7D-9FEE-4D6A-82AF-A1BBDBF256AD}">
      <dgm:prSet/>
      <dgm:spPr/>
      <dgm:t>
        <a:bodyPr/>
        <a:lstStyle/>
        <a:p>
          <a:endParaRPr lang="fr-FR"/>
        </a:p>
      </dgm:t>
    </dgm:pt>
    <dgm:pt modelId="{CD9E6D59-F255-4ADB-8C38-892B9C3F47F3}" type="sibTrans" cxnId="{4BB4FA7D-9FEE-4D6A-82AF-A1BBDBF256AD}">
      <dgm:prSet/>
      <dgm:spPr/>
      <dgm:t>
        <a:bodyPr/>
        <a:lstStyle/>
        <a:p>
          <a:endParaRPr lang="fr-FR"/>
        </a:p>
      </dgm:t>
    </dgm:pt>
    <dgm:pt modelId="{A8F177C2-56BD-49F9-BCB1-5E9F3E4E6F85}" type="pres">
      <dgm:prSet presAssocID="{25FFB459-BDE0-4C4A-845F-724C4D833879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fr-BE"/>
        </a:p>
      </dgm:t>
    </dgm:pt>
    <dgm:pt modelId="{64CB180A-A61E-4189-A25E-A0213A3E05FC}" type="pres">
      <dgm:prSet presAssocID="{25FFB459-BDE0-4C4A-845F-724C4D833879}" presName="Name1" presStyleCnt="0"/>
      <dgm:spPr/>
    </dgm:pt>
    <dgm:pt modelId="{21B2D0BF-C437-4DBA-BB85-EF9CF09D35CD}" type="pres">
      <dgm:prSet presAssocID="{25FFB459-BDE0-4C4A-845F-724C4D833879}" presName="cycle" presStyleCnt="0"/>
      <dgm:spPr/>
    </dgm:pt>
    <dgm:pt modelId="{244B40B6-9C2F-4689-8933-18FDDE020483}" type="pres">
      <dgm:prSet presAssocID="{25FFB459-BDE0-4C4A-845F-724C4D833879}" presName="srcNode" presStyleLbl="node1" presStyleIdx="0" presStyleCnt="3"/>
      <dgm:spPr/>
    </dgm:pt>
    <dgm:pt modelId="{EC34EAFA-82B2-4E56-BEE0-F534DA6A3479}" type="pres">
      <dgm:prSet presAssocID="{25FFB459-BDE0-4C4A-845F-724C4D833879}" presName="conn" presStyleLbl="parChTrans1D2" presStyleIdx="0" presStyleCnt="1"/>
      <dgm:spPr/>
      <dgm:t>
        <a:bodyPr/>
        <a:lstStyle/>
        <a:p>
          <a:endParaRPr lang="fr-BE"/>
        </a:p>
      </dgm:t>
    </dgm:pt>
    <dgm:pt modelId="{2417BEC8-6E1B-4928-A51A-984D2C91BFB2}" type="pres">
      <dgm:prSet presAssocID="{25FFB459-BDE0-4C4A-845F-724C4D833879}" presName="extraNode" presStyleLbl="node1" presStyleIdx="0" presStyleCnt="3"/>
      <dgm:spPr/>
    </dgm:pt>
    <dgm:pt modelId="{55A0ACCE-E7B7-4289-AF79-E1323B0FDFE9}" type="pres">
      <dgm:prSet presAssocID="{25FFB459-BDE0-4C4A-845F-724C4D833879}" presName="dstNode" presStyleLbl="node1" presStyleIdx="0" presStyleCnt="3"/>
      <dgm:spPr/>
    </dgm:pt>
    <dgm:pt modelId="{AEFE5010-F9D5-443C-B31C-0A4BFC0E7AA2}" type="pres">
      <dgm:prSet presAssocID="{BD0D9A70-9F74-47B1-9B13-E90AD481EECC}" presName="text_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AAA9E397-D362-4BD7-B4A7-93E61E39D0F1}" type="pres">
      <dgm:prSet presAssocID="{BD0D9A70-9F74-47B1-9B13-E90AD481EECC}" presName="accent_1" presStyleCnt="0"/>
      <dgm:spPr/>
    </dgm:pt>
    <dgm:pt modelId="{DA634839-97D9-4A7F-89B0-5FE9B941A908}" type="pres">
      <dgm:prSet presAssocID="{BD0D9A70-9F74-47B1-9B13-E90AD481EECC}" presName="accentRepeatNode" presStyleLbl="solidFgAcc1" presStyleIdx="0" presStyleCnt="3"/>
      <dgm:spPr>
        <a:ln>
          <a:solidFill>
            <a:srgbClr val="0070C0"/>
          </a:solidFill>
        </a:ln>
      </dgm:spPr>
      <dgm:t>
        <a:bodyPr/>
        <a:lstStyle/>
        <a:p>
          <a:endParaRPr lang="fr-BE"/>
        </a:p>
      </dgm:t>
    </dgm:pt>
    <dgm:pt modelId="{88CF4552-8F47-481F-A3FA-780F9DFEC56D}" type="pres">
      <dgm:prSet presAssocID="{3E29C919-EBA2-4B5F-92EA-E8F9205882AA}" presName="text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FF78ACA5-8420-41C2-8829-B61F267C3775}" type="pres">
      <dgm:prSet presAssocID="{3E29C919-EBA2-4B5F-92EA-E8F9205882AA}" presName="accent_2" presStyleCnt="0"/>
      <dgm:spPr/>
    </dgm:pt>
    <dgm:pt modelId="{E2428A20-C205-41B8-BBA3-6EE1310CBC53}" type="pres">
      <dgm:prSet presAssocID="{3E29C919-EBA2-4B5F-92EA-E8F9205882AA}" presName="accentRepeatNode" presStyleLbl="solidFgAcc1" presStyleIdx="1" presStyleCnt="3"/>
      <dgm:spPr>
        <a:ln>
          <a:solidFill>
            <a:srgbClr val="0070C0"/>
          </a:solidFill>
        </a:ln>
      </dgm:spPr>
      <dgm:t>
        <a:bodyPr/>
        <a:lstStyle/>
        <a:p>
          <a:endParaRPr lang="fr-BE"/>
        </a:p>
      </dgm:t>
    </dgm:pt>
    <dgm:pt modelId="{7EC00844-76D1-46D0-ACF0-76B2B5F4F39A}" type="pres">
      <dgm:prSet presAssocID="{FA1A8CA0-166E-4793-9FB5-1D89FEEDFED8}" presName="text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E9075973-D828-4691-A855-0F5BD1EC1436}" type="pres">
      <dgm:prSet presAssocID="{FA1A8CA0-166E-4793-9FB5-1D89FEEDFED8}" presName="accent_3" presStyleCnt="0"/>
      <dgm:spPr/>
    </dgm:pt>
    <dgm:pt modelId="{68F1340E-9D70-4E47-A56B-A62D8A875EFB}" type="pres">
      <dgm:prSet presAssocID="{FA1A8CA0-166E-4793-9FB5-1D89FEEDFED8}" presName="accentRepeatNode" presStyleLbl="solidFgAcc1" presStyleIdx="2" presStyleCnt="3"/>
      <dgm:spPr>
        <a:ln>
          <a:solidFill>
            <a:srgbClr val="0070C0"/>
          </a:solidFill>
        </a:ln>
      </dgm:spPr>
      <dgm:t>
        <a:bodyPr/>
        <a:lstStyle/>
        <a:p>
          <a:endParaRPr lang="fr-BE"/>
        </a:p>
      </dgm:t>
    </dgm:pt>
  </dgm:ptLst>
  <dgm:cxnLst>
    <dgm:cxn modelId="{4BB4FA7D-9FEE-4D6A-82AF-A1BBDBF256AD}" srcId="{25FFB459-BDE0-4C4A-845F-724C4D833879}" destId="{FA1A8CA0-166E-4793-9FB5-1D89FEEDFED8}" srcOrd="2" destOrd="0" parTransId="{9BE39A37-4630-46B8-BD3B-02C91EDC930F}" sibTransId="{CD9E6D59-F255-4ADB-8C38-892B9C3F47F3}"/>
    <dgm:cxn modelId="{80872403-3E57-4D31-877F-CA110FECCC86}" type="presOf" srcId="{0E1DA99B-FEDA-49F6-9388-EDDB315D8FD4}" destId="{EC34EAFA-82B2-4E56-BEE0-F534DA6A3479}" srcOrd="0" destOrd="0" presId="urn:microsoft.com/office/officeart/2008/layout/VerticalCurvedList"/>
    <dgm:cxn modelId="{5AE0C0AE-1FD9-4BA1-82E6-1BCB9A2350EA}" type="presOf" srcId="{FA1A8CA0-166E-4793-9FB5-1D89FEEDFED8}" destId="{7EC00844-76D1-46D0-ACF0-76B2B5F4F39A}" srcOrd="0" destOrd="0" presId="urn:microsoft.com/office/officeart/2008/layout/VerticalCurvedList"/>
    <dgm:cxn modelId="{9C1BF9E7-8417-431E-9550-1FCEB0600F11}" type="presOf" srcId="{3E29C919-EBA2-4B5F-92EA-E8F9205882AA}" destId="{88CF4552-8F47-481F-A3FA-780F9DFEC56D}" srcOrd="0" destOrd="0" presId="urn:microsoft.com/office/officeart/2008/layout/VerticalCurvedList"/>
    <dgm:cxn modelId="{B0EF587F-291B-4395-A825-9D1C4CE072C7}" srcId="{25FFB459-BDE0-4C4A-845F-724C4D833879}" destId="{3E29C919-EBA2-4B5F-92EA-E8F9205882AA}" srcOrd="1" destOrd="0" parTransId="{F722F98F-78B5-4ABD-AA96-CD6B9808F374}" sibTransId="{14F7E6B2-B5C3-4506-9D06-57D7A49BC2BC}"/>
    <dgm:cxn modelId="{A79A0B4A-D1AC-47B0-A1C1-5CC671BA246D}" srcId="{25FFB459-BDE0-4C4A-845F-724C4D833879}" destId="{BD0D9A70-9F74-47B1-9B13-E90AD481EECC}" srcOrd="0" destOrd="0" parTransId="{8F0190A3-9F91-4049-B8CE-B6E388350638}" sibTransId="{0E1DA99B-FEDA-49F6-9388-EDDB315D8FD4}"/>
    <dgm:cxn modelId="{16D7DE83-0B94-4F21-A243-8F3D7973DF32}" type="presOf" srcId="{BD0D9A70-9F74-47B1-9B13-E90AD481EECC}" destId="{AEFE5010-F9D5-443C-B31C-0A4BFC0E7AA2}" srcOrd="0" destOrd="0" presId="urn:microsoft.com/office/officeart/2008/layout/VerticalCurvedList"/>
    <dgm:cxn modelId="{D2B02F25-0B41-4925-9DC3-A778521C0E9C}" type="presOf" srcId="{25FFB459-BDE0-4C4A-845F-724C4D833879}" destId="{A8F177C2-56BD-49F9-BCB1-5E9F3E4E6F85}" srcOrd="0" destOrd="0" presId="urn:microsoft.com/office/officeart/2008/layout/VerticalCurvedList"/>
    <dgm:cxn modelId="{C8EB83AA-B968-4D45-B684-DA5615A20A84}" type="presParOf" srcId="{A8F177C2-56BD-49F9-BCB1-5E9F3E4E6F85}" destId="{64CB180A-A61E-4189-A25E-A0213A3E05FC}" srcOrd="0" destOrd="0" presId="urn:microsoft.com/office/officeart/2008/layout/VerticalCurvedList"/>
    <dgm:cxn modelId="{1BBABF14-94A4-4EA3-B09C-A1155429613F}" type="presParOf" srcId="{64CB180A-A61E-4189-A25E-A0213A3E05FC}" destId="{21B2D0BF-C437-4DBA-BB85-EF9CF09D35CD}" srcOrd="0" destOrd="0" presId="urn:microsoft.com/office/officeart/2008/layout/VerticalCurvedList"/>
    <dgm:cxn modelId="{A6A511E8-CC7A-456D-A729-9595C553C35E}" type="presParOf" srcId="{21B2D0BF-C437-4DBA-BB85-EF9CF09D35CD}" destId="{244B40B6-9C2F-4689-8933-18FDDE020483}" srcOrd="0" destOrd="0" presId="urn:microsoft.com/office/officeart/2008/layout/VerticalCurvedList"/>
    <dgm:cxn modelId="{68822EC5-D40D-4F8F-B863-89386AAB6D81}" type="presParOf" srcId="{21B2D0BF-C437-4DBA-BB85-EF9CF09D35CD}" destId="{EC34EAFA-82B2-4E56-BEE0-F534DA6A3479}" srcOrd="1" destOrd="0" presId="urn:microsoft.com/office/officeart/2008/layout/VerticalCurvedList"/>
    <dgm:cxn modelId="{82517D66-0D44-4F96-B5F3-D8878280B494}" type="presParOf" srcId="{21B2D0BF-C437-4DBA-BB85-EF9CF09D35CD}" destId="{2417BEC8-6E1B-4928-A51A-984D2C91BFB2}" srcOrd="2" destOrd="0" presId="urn:microsoft.com/office/officeart/2008/layout/VerticalCurvedList"/>
    <dgm:cxn modelId="{15967135-3405-42E3-90B6-D841A4BF4553}" type="presParOf" srcId="{21B2D0BF-C437-4DBA-BB85-EF9CF09D35CD}" destId="{55A0ACCE-E7B7-4289-AF79-E1323B0FDFE9}" srcOrd="3" destOrd="0" presId="urn:microsoft.com/office/officeart/2008/layout/VerticalCurvedList"/>
    <dgm:cxn modelId="{1134A36F-5CF9-4600-AFD2-5EFB3759A710}" type="presParOf" srcId="{64CB180A-A61E-4189-A25E-A0213A3E05FC}" destId="{AEFE5010-F9D5-443C-B31C-0A4BFC0E7AA2}" srcOrd="1" destOrd="0" presId="urn:microsoft.com/office/officeart/2008/layout/VerticalCurvedList"/>
    <dgm:cxn modelId="{012A63D9-A943-4675-9488-125E4B37F841}" type="presParOf" srcId="{64CB180A-A61E-4189-A25E-A0213A3E05FC}" destId="{AAA9E397-D362-4BD7-B4A7-93E61E39D0F1}" srcOrd="2" destOrd="0" presId="urn:microsoft.com/office/officeart/2008/layout/VerticalCurvedList"/>
    <dgm:cxn modelId="{6A56A27C-BEBC-405A-9D17-F3EFDA0637CF}" type="presParOf" srcId="{AAA9E397-D362-4BD7-B4A7-93E61E39D0F1}" destId="{DA634839-97D9-4A7F-89B0-5FE9B941A908}" srcOrd="0" destOrd="0" presId="urn:microsoft.com/office/officeart/2008/layout/VerticalCurvedList"/>
    <dgm:cxn modelId="{63020D08-910C-4A3F-B8CD-4B878A436894}" type="presParOf" srcId="{64CB180A-A61E-4189-A25E-A0213A3E05FC}" destId="{88CF4552-8F47-481F-A3FA-780F9DFEC56D}" srcOrd="3" destOrd="0" presId="urn:microsoft.com/office/officeart/2008/layout/VerticalCurvedList"/>
    <dgm:cxn modelId="{9201231A-D7DD-4F99-B95A-167BF6A42366}" type="presParOf" srcId="{64CB180A-A61E-4189-A25E-A0213A3E05FC}" destId="{FF78ACA5-8420-41C2-8829-B61F267C3775}" srcOrd="4" destOrd="0" presId="urn:microsoft.com/office/officeart/2008/layout/VerticalCurvedList"/>
    <dgm:cxn modelId="{9440DEE6-8A3D-4E83-8A4C-82CAC4D70347}" type="presParOf" srcId="{FF78ACA5-8420-41C2-8829-B61F267C3775}" destId="{E2428A20-C205-41B8-BBA3-6EE1310CBC53}" srcOrd="0" destOrd="0" presId="urn:microsoft.com/office/officeart/2008/layout/VerticalCurvedList"/>
    <dgm:cxn modelId="{D98521E9-7AF6-41E5-BEDE-7F9B3317AE33}" type="presParOf" srcId="{64CB180A-A61E-4189-A25E-A0213A3E05FC}" destId="{7EC00844-76D1-46D0-ACF0-76B2B5F4F39A}" srcOrd="5" destOrd="0" presId="urn:microsoft.com/office/officeart/2008/layout/VerticalCurvedList"/>
    <dgm:cxn modelId="{D69EB6DB-8916-4618-82A1-0C88EC0DB4A7}" type="presParOf" srcId="{64CB180A-A61E-4189-A25E-A0213A3E05FC}" destId="{E9075973-D828-4691-A855-0F5BD1EC1436}" srcOrd="6" destOrd="0" presId="urn:microsoft.com/office/officeart/2008/layout/VerticalCurvedList"/>
    <dgm:cxn modelId="{E66129A7-E5CC-4439-9635-7EC44A92EC3C}" type="presParOf" srcId="{E9075973-D828-4691-A855-0F5BD1EC1436}" destId="{68F1340E-9D70-4E47-A56B-A62D8A875EFB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25FFB459-BDE0-4C4A-845F-724C4D833879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BD0D9A70-9F74-47B1-9B13-E90AD481EECC}">
      <dgm:prSet phldrT="[Texte]" custT="1"/>
      <dgm:spPr>
        <a:solidFill>
          <a:srgbClr val="002060"/>
        </a:solidFill>
        <a:ln>
          <a:noFill/>
        </a:ln>
      </dgm:spPr>
      <dgm:t>
        <a:bodyPr/>
        <a:lstStyle/>
        <a:p>
          <a:r>
            <a:rPr lang="fr-FR" sz="1200" dirty="0" smtClean="0"/>
            <a:t>Catégorisation données  + durée conservation</a:t>
          </a:r>
          <a:endParaRPr lang="fr-FR" sz="1200" dirty="0"/>
        </a:p>
      </dgm:t>
    </dgm:pt>
    <dgm:pt modelId="{8F0190A3-9F91-4049-B8CE-B6E388350638}" type="parTrans" cxnId="{A79A0B4A-D1AC-47B0-A1C1-5CC671BA246D}">
      <dgm:prSet/>
      <dgm:spPr/>
      <dgm:t>
        <a:bodyPr/>
        <a:lstStyle/>
        <a:p>
          <a:endParaRPr lang="fr-FR"/>
        </a:p>
      </dgm:t>
    </dgm:pt>
    <dgm:pt modelId="{0E1DA99B-FEDA-49F6-9388-EDDB315D8FD4}" type="sibTrans" cxnId="{A79A0B4A-D1AC-47B0-A1C1-5CC671BA246D}">
      <dgm:prSet/>
      <dgm:spPr/>
      <dgm:t>
        <a:bodyPr/>
        <a:lstStyle/>
        <a:p>
          <a:endParaRPr lang="fr-FR"/>
        </a:p>
      </dgm:t>
    </dgm:pt>
    <dgm:pt modelId="{D95DD99C-3EC0-440B-9A42-6A1EFE062D6E}">
      <dgm:prSet phldrT="[Texte]" custT="1"/>
      <dgm:spPr>
        <a:solidFill>
          <a:srgbClr val="002060"/>
        </a:solidFill>
      </dgm:spPr>
      <dgm:t>
        <a:bodyPr/>
        <a:lstStyle/>
        <a:p>
          <a:r>
            <a:rPr lang="fr-FR" sz="1200" dirty="0" smtClean="0"/>
            <a:t>Finalité et  minimalisation</a:t>
          </a:r>
          <a:endParaRPr lang="fr-FR" sz="1200" dirty="0"/>
        </a:p>
      </dgm:t>
    </dgm:pt>
    <dgm:pt modelId="{959AD782-76A0-44CE-900F-FD97A9E4BCE0}" type="parTrans" cxnId="{F83F0181-674C-4180-80CE-7A0265BD084D}">
      <dgm:prSet/>
      <dgm:spPr/>
      <dgm:t>
        <a:bodyPr/>
        <a:lstStyle/>
        <a:p>
          <a:endParaRPr lang="fr-BE"/>
        </a:p>
      </dgm:t>
    </dgm:pt>
    <dgm:pt modelId="{45BA8E92-59A5-4D61-AF44-300517D6F987}" type="sibTrans" cxnId="{F83F0181-674C-4180-80CE-7A0265BD084D}">
      <dgm:prSet/>
      <dgm:spPr/>
      <dgm:t>
        <a:bodyPr/>
        <a:lstStyle/>
        <a:p>
          <a:endParaRPr lang="fr-BE"/>
        </a:p>
      </dgm:t>
    </dgm:pt>
    <dgm:pt modelId="{7F97C6EB-2519-431B-A105-B33DD1C04EDC}">
      <dgm:prSet phldrT="[Texte]" custT="1"/>
      <dgm:spPr>
        <a:solidFill>
          <a:srgbClr val="002060"/>
        </a:solidFill>
      </dgm:spPr>
      <dgm:t>
        <a:bodyPr/>
        <a:lstStyle/>
        <a:p>
          <a:r>
            <a:rPr lang="fr-FR" sz="1200" dirty="0" smtClean="0"/>
            <a:t>Exigences (cryptage, masquage, habilitation)</a:t>
          </a:r>
          <a:endParaRPr lang="fr-FR" sz="1200" dirty="0"/>
        </a:p>
      </dgm:t>
    </dgm:pt>
    <dgm:pt modelId="{2D4F4C37-80D9-4431-8E10-6A090A7C0792}" type="parTrans" cxnId="{5B0CE816-1F30-49AD-98EE-6BC6E4579D49}">
      <dgm:prSet/>
      <dgm:spPr/>
      <dgm:t>
        <a:bodyPr/>
        <a:lstStyle/>
        <a:p>
          <a:endParaRPr lang="fr-BE"/>
        </a:p>
      </dgm:t>
    </dgm:pt>
    <dgm:pt modelId="{97F10DEE-8D38-4467-9D4C-B1F097DDB058}" type="sibTrans" cxnId="{5B0CE816-1F30-49AD-98EE-6BC6E4579D49}">
      <dgm:prSet/>
      <dgm:spPr/>
      <dgm:t>
        <a:bodyPr/>
        <a:lstStyle/>
        <a:p>
          <a:endParaRPr lang="fr-BE"/>
        </a:p>
      </dgm:t>
    </dgm:pt>
    <dgm:pt modelId="{A8F177C2-56BD-49F9-BCB1-5E9F3E4E6F85}" type="pres">
      <dgm:prSet presAssocID="{25FFB459-BDE0-4C4A-845F-724C4D833879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fr-BE"/>
        </a:p>
      </dgm:t>
    </dgm:pt>
    <dgm:pt modelId="{64CB180A-A61E-4189-A25E-A0213A3E05FC}" type="pres">
      <dgm:prSet presAssocID="{25FFB459-BDE0-4C4A-845F-724C4D833879}" presName="Name1" presStyleCnt="0"/>
      <dgm:spPr/>
    </dgm:pt>
    <dgm:pt modelId="{21B2D0BF-C437-4DBA-BB85-EF9CF09D35CD}" type="pres">
      <dgm:prSet presAssocID="{25FFB459-BDE0-4C4A-845F-724C4D833879}" presName="cycle" presStyleCnt="0"/>
      <dgm:spPr/>
    </dgm:pt>
    <dgm:pt modelId="{244B40B6-9C2F-4689-8933-18FDDE020483}" type="pres">
      <dgm:prSet presAssocID="{25FFB459-BDE0-4C4A-845F-724C4D833879}" presName="srcNode" presStyleLbl="node1" presStyleIdx="0" presStyleCnt="3"/>
      <dgm:spPr/>
    </dgm:pt>
    <dgm:pt modelId="{EC34EAFA-82B2-4E56-BEE0-F534DA6A3479}" type="pres">
      <dgm:prSet presAssocID="{25FFB459-BDE0-4C4A-845F-724C4D833879}" presName="conn" presStyleLbl="parChTrans1D2" presStyleIdx="0" presStyleCnt="1"/>
      <dgm:spPr/>
      <dgm:t>
        <a:bodyPr/>
        <a:lstStyle/>
        <a:p>
          <a:endParaRPr lang="fr-BE"/>
        </a:p>
      </dgm:t>
    </dgm:pt>
    <dgm:pt modelId="{2417BEC8-6E1B-4928-A51A-984D2C91BFB2}" type="pres">
      <dgm:prSet presAssocID="{25FFB459-BDE0-4C4A-845F-724C4D833879}" presName="extraNode" presStyleLbl="node1" presStyleIdx="0" presStyleCnt="3"/>
      <dgm:spPr/>
    </dgm:pt>
    <dgm:pt modelId="{55A0ACCE-E7B7-4289-AF79-E1323B0FDFE9}" type="pres">
      <dgm:prSet presAssocID="{25FFB459-BDE0-4C4A-845F-724C4D833879}" presName="dstNode" presStyleLbl="node1" presStyleIdx="0" presStyleCnt="3"/>
      <dgm:spPr/>
    </dgm:pt>
    <dgm:pt modelId="{AEFE5010-F9D5-443C-B31C-0A4BFC0E7AA2}" type="pres">
      <dgm:prSet presAssocID="{BD0D9A70-9F74-47B1-9B13-E90AD481EECC}" presName="text_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AAA9E397-D362-4BD7-B4A7-93E61E39D0F1}" type="pres">
      <dgm:prSet presAssocID="{BD0D9A70-9F74-47B1-9B13-E90AD481EECC}" presName="accent_1" presStyleCnt="0"/>
      <dgm:spPr/>
    </dgm:pt>
    <dgm:pt modelId="{DA634839-97D9-4A7F-89B0-5FE9B941A908}" type="pres">
      <dgm:prSet presAssocID="{BD0D9A70-9F74-47B1-9B13-E90AD481EECC}" presName="accentRepeatNode" presStyleLbl="solidFgAcc1" presStyleIdx="0" presStyleCnt="3"/>
      <dgm:spPr>
        <a:ln>
          <a:solidFill>
            <a:srgbClr val="002060"/>
          </a:solidFill>
        </a:ln>
      </dgm:spPr>
      <dgm:t>
        <a:bodyPr/>
        <a:lstStyle/>
        <a:p>
          <a:endParaRPr lang="fr-BE"/>
        </a:p>
      </dgm:t>
    </dgm:pt>
    <dgm:pt modelId="{488040A8-407A-4E65-ADF0-E5962B869E20}" type="pres">
      <dgm:prSet presAssocID="{D95DD99C-3EC0-440B-9A42-6A1EFE062D6E}" presName="text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612620E7-6CD6-4F39-95FC-009A8742D532}" type="pres">
      <dgm:prSet presAssocID="{D95DD99C-3EC0-440B-9A42-6A1EFE062D6E}" presName="accent_2" presStyleCnt="0"/>
      <dgm:spPr/>
    </dgm:pt>
    <dgm:pt modelId="{4BE2367F-8049-4FA0-9F5A-23560686B6E4}" type="pres">
      <dgm:prSet presAssocID="{D95DD99C-3EC0-440B-9A42-6A1EFE062D6E}" presName="accentRepeatNode" presStyleLbl="solidFgAcc1" presStyleIdx="1" presStyleCnt="3"/>
      <dgm:spPr>
        <a:ln>
          <a:solidFill>
            <a:srgbClr val="002060"/>
          </a:solidFill>
        </a:ln>
      </dgm:spPr>
      <dgm:t>
        <a:bodyPr/>
        <a:lstStyle/>
        <a:p>
          <a:endParaRPr lang="fr-BE"/>
        </a:p>
      </dgm:t>
    </dgm:pt>
    <dgm:pt modelId="{E8170911-94C4-4502-BCAB-4EEFADFAAA0C}" type="pres">
      <dgm:prSet presAssocID="{7F97C6EB-2519-431B-A105-B33DD1C04EDC}" presName="text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731C0E3B-0319-4DF9-841B-B8D0855D3449}" type="pres">
      <dgm:prSet presAssocID="{7F97C6EB-2519-431B-A105-B33DD1C04EDC}" presName="accent_3" presStyleCnt="0"/>
      <dgm:spPr/>
    </dgm:pt>
    <dgm:pt modelId="{C0E73059-3CA2-47A3-8745-6B7FD54D40AA}" type="pres">
      <dgm:prSet presAssocID="{7F97C6EB-2519-431B-A105-B33DD1C04EDC}" presName="accentRepeatNode" presStyleLbl="solidFgAcc1" presStyleIdx="2" presStyleCnt="3"/>
      <dgm:spPr>
        <a:ln>
          <a:solidFill>
            <a:srgbClr val="002060"/>
          </a:solidFill>
        </a:ln>
      </dgm:spPr>
      <dgm:t>
        <a:bodyPr/>
        <a:lstStyle/>
        <a:p>
          <a:endParaRPr lang="fr-BE"/>
        </a:p>
      </dgm:t>
    </dgm:pt>
  </dgm:ptLst>
  <dgm:cxnLst>
    <dgm:cxn modelId="{FD90FE19-6D10-478E-8DA0-A1E9DA029DCD}" type="presOf" srcId="{25FFB459-BDE0-4C4A-845F-724C4D833879}" destId="{A8F177C2-56BD-49F9-BCB1-5E9F3E4E6F85}" srcOrd="0" destOrd="0" presId="urn:microsoft.com/office/officeart/2008/layout/VerticalCurvedList"/>
    <dgm:cxn modelId="{BE109B89-8A56-4342-BE03-6D5F328F546E}" type="presOf" srcId="{7F97C6EB-2519-431B-A105-B33DD1C04EDC}" destId="{E8170911-94C4-4502-BCAB-4EEFADFAAA0C}" srcOrd="0" destOrd="0" presId="urn:microsoft.com/office/officeart/2008/layout/VerticalCurvedList"/>
    <dgm:cxn modelId="{FCE8A93D-3628-4446-A77E-55DC9C05DA82}" type="presOf" srcId="{D95DD99C-3EC0-440B-9A42-6A1EFE062D6E}" destId="{488040A8-407A-4E65-ADF0-E5962B869E20}" srcOrd="0" destOrd="0" presId="urn:microsoft.com/office/officeart/2008/layout/VerticalCurvedList"/>
    <dgm:cxn modelId="{906FE20C-2046-4775-A309-7CA9062B96BC}" type="presOf" srcId="{0E1DA99B-FEDA-49F6-9388-EDDB315D8FD4}" destId="{EC34EAFA-82B2-4E56-BEE0-F534DA6A3479}" srcOrd="0" destOrd="0" presId="urn:microsoft.com/office/officeart/2008/layout/VerticalCurvedList"/>
    <dgm:cxn modelId="{A79A0B4A-D1AC-47B0-A1C1-5CC671BA246D}" srcId="{25FFB459-BDE0-4C4A-845F-724C4D833879}" destId="{BD0D9A70-9F74-47B1-9B13-E90AD481EECC}" srcOrd="0" destOrd="0" parTransId="{8F0190A3-9F91-4049-B8CE-B6E388350638}" sibTransId="{0E1DA99B-FEDA-49F6-9388-EDDB315D8FD4}"/>
    <dgm:cxn modelId="{F83F0181-674C-4180-80CE-7A0265BD084D}" srcId="{25FFB459-BDE0-4C4A-845F-724C4D833879}" destId="{D95DD99C-3EC0-440B-9A42-6A1EFE062D6E}" srcOrd="1" destOrd="0" parTransId="{959AD782-76A0-44CE-900F-FD97A9E4BCE0}" sibTransId="{45BA8E92-59A5-4D61-AF44-300517D6F987}"/>
    <dgm:cxn modelId="{1A4D406A-67C8-4CEE-9692-76C808FDE0CC}" type="presOf" srcId="{BD0D9A70-9F74-47B1-9B13-E90AD481EECC}" destId="{AEFE5010-F9D5-443C-B31C-0A4BFC0E7AA2}" srcOrd="0" destOrd="0" presId="urn:microsoft.com/office/officeart/2008/layout/VerticalCurvedList"/>
    <dgm:cxn modelId="{5B0CE816-1F30-49AD-98EE-6BC6E4579D49}" srcId="{25FFB459-BDE0-4C4A-845F-724C4D833879}" destId="{7F97C6EB-2519-431B-A105-B33DD1C04EDC}" srcOrd="2" destOrd="0" parTransId="{2D4F4C37-80D9-4431-8E10-6A090A7C0792}" sibTransId="{97F10DEE-8D38-4467-9D4C-B1F097DDB058}"/>
    <dgm:cxn modelId="{BA451261-8144-4826-9BFF-A76367ADEC7C}" type="presParOf" srcId="{A8F177C2-56BD-49F9-BCB1-5E9F3E4E6F85}" destId="{64CB180A-A61E-4189-A25E-A0213A3E05FC}" srcOrd="0" destOrd="0" presId="urn:microsoft.com/office/officeart/2008/layout/VerticalCurvedList"/>
    <dgm:cxn modelId="{3D9AD48D-E4C3-4032-8F34-5D042D4FF199}" type="presParOf" srcId="{64CB180A-A61E-4189-A25E-A0213A3E05FC}" destId="{21B2D0BF-C437-4DBA-BB85-EF9CF09D35CD}" srcOrd="0" destOrd="0" presId="urn:microsoft.com/office/officeart/2008/layout/VerticalCurvedList"/>
    <dgm:cxn modelId="{45DC51DA-825B-40C1-B453-4C2856182878}" type="presParOf" srcId="{21B2D0BF-C437-4DBA-BB85-EF9CF09D35CD}" destId="{244B40B6-9C2F-4689-8933-18FDDE020483}" srcOrd="0" destOrd="0" presId="urn:microsoft.com/office/officeart/2008/layout/VerticalCurvedList"/>
    <dgm:cxn modelId="{D7B5201B-B361-4DF3-A949-B145FAD3C047}" type="presParOf" srcId="{21B2D0BF-C437-4DBA-BB85-EF9CF09D35CD}" destId="{EC34EAFA-82B2-4E56-BEE0-F534DA6A3479}" srcOrd="1" destOrd="0" presId="urn:microsoft.com/office/officeart/2008/layout/VerticalCurvedList"/>
    <dgm:cxn modelId="{A9E722DD-D242-4377-899C-C644E874B33D}" type="presParOf" srcId="{21B2D0BF-C437-4DBA-BB85-EF9CF09D35CD}" destId="{2417BEC8-6E1B-4928-A51A-984D2C91BFB2}" srcOrd="2" destOrd="0" presId="urn:microsoft.com/office/officeart/2008/layout/VerticalCurvedList"/>
    <dgm:cxn modelId="{763E4F36-4DDC-43B6-9016-0578461DB4C6}" type="presParOf" srcId="{21B2D0BF-C437-4DBA-BB85-EF9CF09D35CD}" destId="{55A0ACCE-E7B7-4289-AF79-E1323B0FDFE9}" srcOrd="3" destOrd="0" presId="urn:microsoft.com/office/officeart/2008/layout/VerticalCurvedList"/>
    <dgm:cxn modelId="{254880EC-0686-45EE-87E2-3BD4CE4FC866}" type="presParOf" srcId="{64CB180A-A61E-4189-A25E-A0213A3E05FC}" destId="{AEFE5010-F9D5-443C-B31C-0A4BFC0E7AA2}" srcOrd="1" destOrd="0" presId="urn:microsoft.com/office/officeart/2008/layout/VerticalCurvedList"/>
    <dgm:cxn modelId="{A704AB10-2BEC-4ACE-9748-3DE9E1F311C7}" type="presParOf" srcId="{64CB180A-A61E-4189-A25E-A0213A3E05FC}" destId="{AAA9E397-D362-4BD7-B4A7-93E61E39D0F1}" srcOrd="2" destOrd="0" presId="urn:microsoft.com/office/officeart/2008/layout/VerticalCurvedList"/>
    <dgm:cxn modelId="{82FF11CA-0C31-4CC8-B6AC-71F64EB98976}" type="presParOf" srcId="{AAA9E397-D362-4BD7-B4A7-93E61E39D0F1}" destId="{DA634839-97D9-4A7F-89B0-5FE9B941A908}" srcOrd="0" destOrd="0" presId="urn:microsoft.com/office/officeart/2008/layout/VerticalCurvedList"/>
    <dgm:cxn modelId="{A7FA2F08-C328-4557-8AF0-CDBEF884AC70}" type="presParOf" srcId="{64CB180A-A61E-4189-A25E-A0213A3E05FC}" destId="{488040A8-407A-4E65-ADF0-E5962B869E20}" srcOrd="3" destOrd="0" presId="urn:microsoft.com/office/officeart/2008/layout/VerticalCurvedList"/>
    <dgm:cxn modelId="{CBB93218-8B36-45DB-9866-4BACFFEE99CB}" type="presParOf" srcId="{64CB180A-A61E-4189-A25E-A0213A3E05FC}" destId="{612620E7-6CD6-4F39-95FC-009A8742D532}" srcOrd="4" destOrd="0" presId="urn:microsoft.com/office/officeart/2008/layout/VerticalCurvedList"/>
    <dgm:cxn modelId="{599E3046-9A63-4669-9473-776A57070B5B}" type="presParOf" srcId="{612620E7-6CD6-4F39-95FC-009A8742D532}" destId="{4BE2367F-8049-4FA0-9F5A-23560686B6E4}" srcOrd="0" destOrd="0" presId="urn:microsoft.com/office/officeart/2008/layout/VerticalCurvedList"/>
    <dgm:cxn modelId="{48199B49-F2DE-4FE3-96FE-E9D4D80376FE}" type="presParOf" srcId="{64CB180A-A61E-4189-A25E-A0213A3E05FC}" destId="{E8170911-94C4-4502-BCAB-4EEFADFAAA0C}" srcOrd="5" destOrd="0" presId="urn:microsoft.com/office/officeart/2008/layout/VerticalCurvedList"/>
    <dgm:cxn modelId="{FD22AB89-3A7D-4CE5-AB9E-453347406C5E}" type="presParOf" srcId="{64CB180A-A61E-4189-A25E-A0213A3E05FC}" destId="{731C0E3B-0319-4DF9-841B-B8D0855D3449}" srcOrd="6" destOrd="0" presId="urn:microsoft.com/office/officeart/2008/layout/VerticalCurvedList"/>
    <dgm:cxn modelId="{640EAF4A-CB44-4435-82EA-6C867BDB0AD4}" type="presParOf" srcId="{731C0E3B-0319-4DF9-841B-B8D0855D3449}" destId="{C0E73059-3CA2-47A3-8745-6B7FD54D40AA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C34EAFA-82B2-4E56-BEE0-F534DA6A3479}">
      <dsp:nvSpPr>
        <dsp:cNvPr id="0" name=""/>
        <dsp:cNvSpPr/>
      </dsp:nvSpPr>
      <dsp:spPr>
        <a:xfrm>
          <a:off x="-3486378" y="-535969"/>
          <a:ext cx="4156642" cy="4156642"/>
        </a:xfrm>
        <a:prstGeom prst="blockArc">
          <a:avLst>
            <a:gd name="adj1" fmla="val 18900000"/>
            <a:gd name="adj2" fmla="val 2700000"/>
            <a:gd name="adj3" fmla="val 520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FE5010-F9D5-443C-B31C-0A4BFC0E7AA2}">
      <dsp:nvSpPr>
        <dsp:cNvPr id="0" name=""/>
        <dsp:cNvSpPr/>
      </dsp:nvSpPr>
      <dsp:spPr>
        <a:xfrm>
          <a:off x="351420" y="158602"/>
          <a:ext cx="2188871" cy="631650"/>
        </a:xfrm>
        <a:prstGeom prst="rect">
          <a:avLst/>
        </a:prstGeom>
        <a:solidFill>
          <a:srgbClr val="00B0F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76675" tIns="30480" rIns="30480" bIns="3048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Politique  de gestion des données (catégorie)</a:t>
          </a:r>
          <a:endParaRPr lang="fr-FR" sz="1200" kern="1200" dirty="0"/>
        </a:p>
      </dsp:txBody>
      <dsp:txXfrm>
        <a:off x="351420" y="158602"/>
        <a:ext cx="2188871" cy="631650"/>
      </dsp:txXfrm>
    </dsp:sp>
    <dsp:sp modelId="{DA634839-97D9-4A7F-89B0-5FE9B941A908}">
      <dsp:nvSpPr>
        <dsp:cNvPr id="0" name=""/>
        <dsp:cNvSpPr/>
      </dsp:nvSpPr>
      <dsp:spPr>
        <a:xfrm>
          <a:off x="54826" y="177833"/>
          <a:ext cx="593188" cy="593188"/>
        </a:xfrm>
        <a:prstGeom prst="ellipse">
          <a:avLst/>
        </a:prstGeom>
        <a:solidFill>
          <a:schemeClr val="bg1"/>
        </a:solidFill>
        <a:ln w="25400" cap="flat" cmpd="sng" algn="ctr">
          <a:solidFill>
            <a:srgbClr val="00B0F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8CF4552-8F47-481F-A3FA-780F9DFEC56D}">
      <dsp:nvSpPr>
        <dsp:cNvPr id="0" name=""/>
        <dsp:cNvSpPr/>
      </dsp:nvSpPr>
      <dsp:spPr>
        <a:xfrm>
          <a:off x="623491" y="949101"/>
          <a:ext cx="1916800" cy="474550"/>
        </a:xfrm>
        <a:prstGeom prst="rect">
          <a:avLst/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76675" tIns="30480" rIns="30480" bIns="3048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Finalité du traitement </a:t>
          </a:r>
        </a:p>
      </dsp:txBody>
      <dsp:txXfrm>
        <a:off x="623491" y="949101"/>
        <a:ext cx="1916800" cy="474550"/>
      </dsp:txXfrm>
    </dsp:sp>
    <dsp:sp modelId="{E2428A20-C205-41B8-BBA3-6EE1310CBC53}">
      <dsp:nvSpPr>
        <dsp:cNvPr id="0" name=""/>
        <dsp:cNvSpPr/>
      </dsp:nvSpPr>
      <dsp:spPr>
        <a:xfrm>
          <a:off x="326897" y="889782"/>
          <a:ext cx="593188" cy="593188"/>
        </a:xfrm>
        <a:prstGeom prst="ellipse">
          <a:avLst/>
        </a:prstGeom>
        <a:solidFill>
          <a:schemeClr val="bg1"/>
        </a:solidFill>
        <a:ln w="25400" cap="flat" cmpd="sng" algn="ctr">
          <a:solidFill>
            <a:srgbClr val="00B0F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EC00844-76D1-46D0-ACF0-76B2B5F4F39A}">
      <dsp:nvSpPr>
        <dsp:cNvPr id="0" name=""/>
        <dsp:cNvSpPr/>
      </dsp:nvSpPr>
      <dsp:spPr>
        <a:xfrm>
          <a:off x="623491" y="1661051"/>
          <a:ext cx="1916800" cy="474550"/>
        </a:xfrm>
        <a:prstGeom prst="rect">
          <a:avLst/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76675" tIns="30480" rIns="30480" bIns="3048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Cycle de vie des données</a:t>
          </a:r>
        </a:p>
      </dsp:txBody>
      <dsp:txXfrm>
        <a:off x="623491" y="1661051"/>
        <a:ext cx="1916800" cy="474550"/>
      </dsp:txXfrm>
    </dsp:sp>
    <dsp:sp modelId="{68F1340E-9D70-4E47-A56B-A62D8A875EFB}">
      <dsp:nvSpPr>
        <dsp:cNvPr id="0" name=""/>
        <dsp:cNvSpPr/>
      </dsp:nvSpPr>
      <dsp:spPr>
        <a:xfrm>
          <a:off x="326897" y="1601732"/>
          <a:ext cx="593188" cy="593188"/>
        </a:xfrm>
        <a:prstGeom prst="ellipse">
          <a:avLst/>
        </a:prstGeom>
        <a:solidFill>
          <a:schemeClr val="bg1"/>
        </a:solidFill>
        <a:ln w="25400" cap="flat" cmpd="sng" algn="ctr">
          <a:solidFill>
            <a:srgbClr val="00B0F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AD42521-D2D6-40D4-96DF-A4DB1507EAA5}">
      <dsp:nvSpPr>
        <dsp:cNvPr id="0" name=""/>
        <dsp:cNvSpPr/>
      </dsp:nvSpPr>
      <dsp:spPr>
        <a:xfrm>
          <a:off x="344416" y="2403880"/>
          <a:ext cx="2188871" cy="474550"/>
        </a:xfrm>
        <a:prstGeom prst="rect">
          <a:avLst/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76675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kern="1200" dirty="0" smtClean="0"/>
            <a:t>Gérer les usages</a:t>
          </a:r>
          <a:endParaRPr lang="fr-BE" sz="1400" kern="1200" dirty="0"/>
        </a:p>
      </dsp:txBody>
      <dsp:txXfrm>
        <a:off x="344416" y="2403880"/>
        <a:ext cx="2188871" cy="474550"/>
      </dsp:txXfrm>
    </dsp:sp>
    <dsp:sp modelId="{4371D9A8-9E6D-4069-9D2F-9A2B5B3FC96D}">
      <dsp:nvSpPr>
        <dsp:cNvPr id="0" name=""/>
        <dsp:cNvSpPr/>
      </dsp:nvSpPr>
      <dsp:spPr>
        <a:xfrm>
          <a:off x="54826" y="2313682"/>
          <a:ext cx="593188" cy="59318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B0F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C34EAFA-82B2-4E56-BEE0-F534DA6A3479}">
      <dsp:nvSpPr>
        <dsp:cNvPr id="0" name=""/>
        <dsp:cNvSpPr/>
      </dsp:nvSpPr>
      <dsp:spPr>
        <a:xfrm>
          <a:off x="-2866394" y="-441715"/>
          <a:ext cx="3420146" cy="3420146"/>
        </a:xfrm>
        <a:prstGeom prst="blockArc">
          <a:avLst>
            <a:gd name="adj1" fmla="val 18900000"/>
            <a:gd name="adj2" fmla="val 2700000"/>
            <a:gd name="adj3" fmla="val 632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C31567A-1249-4AE3-8CC4-45E88B79BEFB}">
      <dsp:nvSpPr>
        <dsp:cNvPr id="0" name=""/>
        <dsp:cNvSpPr/>
      </dsp:nvSpPr>
      <dsp:spPr>
        <a:xfrm>
          <a:off x="243407" y="158494"/>
          <a:ext cx="2455202" cy="317190"/>
        </a:xfrm>
        <a:prstGeom prst="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1770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600" kern="1200" dirty="0" err="1" smtClean="0"/>
            <a:t>Risk</a:t>
          </a:r>
          <a:r>
            <a:rPr lang="fr-BE" sz="1600" kern="1200" dirty="0" smtClean="0"/>
            <a:t> </a:t>
          </a:r>
          <a:r>
            <a:rPr lang="fr-BE" sz="1600" kern="1200" dirty="0" err="1" smtClean="0"/>
            <a:t>Assessment</a:t>
          </a:r>
          <a:endParaRPr lang="fr-BE" sz="1600" kern="1200" dirty="0"/>
        </a:p>
      </dsp:txBody>
      <dsp:txXfrm>
        <a:off x="243407" y="158494"/>
        <a:ext cx="2455202" cy="317190"/>
      </dsp:txXfrm>
    </dsp:sp>
    <dsp:sp modelId="{B97EEBE8-718C-45C8-8E5D-CA146AEE8F87}">
      <dsp:nvSpPr>
        <dsp:cNvPr id="0" name=""/>
        <dsp:cNvSpPr/>
      </dsp:nvSpPr>
      <dsp:spPr>
        <a:xfrm>
          <a:off x="45163" y="118845"/>
          <a:ext cx="396488" cy="39648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70C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8865DED-BE1F-4EAA-8457-EB61028791D5}">
      <dsp:nvSpPr>
        <dsp:cNvPr id="0" name=""/>
        <dsp:cNvSpPr/>
      </dsp:nvSpPr>
      <dsp:spPr>
        <a:xfrm>
          <a:off x="470697" y="634128"/>
          <a:ext cx="2227912" cy="317190"/>
        </a:xfrm>
        <a:prstGeom prst="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1770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600" kern="1200" dirty="0" smtClean="0"/>
            <a:t>Security Architecture</a:t>
          </a:r>
          <a:endParaRPr lang="fr-BE" sz="1600" kern="1200" dirty="0"/>
        </a:p>
      </dsp:txBody>
      <dsp:txXfrm>
        <a:off x="470697" y="634128"/>
        <a:ext cx="2227912" cy="317190"/>
      </dsp:txXfrm>
    </dsp:sp>
    <dsp:sp modelId="{01158141-E688-43A8-9BBE-B8037500A26D}">
      <dsp:nvSpPr>
        <dsp:cNvPr id="0" name=""/>
        <dsp:cNvSpPr/>
      </dsp:nvSpPr>
      <dsp:spPr>
        <a:xfrm>
          <a:off x="272453" y="594479"/>
          <a:ext cx="396488" cy="39648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70C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7EFFF2A-C399-4E5A-B214-C3CC06EA217F}">
      <dsp:nvSpPr>
        <dsp:cNvPr id="0" name=""/>
        <dsp:cNvSpPr/>
      </dsp:nvSpPr>
      <dsp:spPr>
        <a:xfrm>
          <a:off x="540457" y="1109762"/>
          <a:ext cx="2158152" cy="317190"/>
        </a:xfrm>
        <a:prstGeom prst="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1770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600" kern="1200" dirty="0" err="1" smtClean="0"/>
            <a:t>Technical</a:t>
          </a:r>
          <a:r>
            <a:rPr lang="fr-FR" sz="1600" kern="1200" dirty="0" smtClean="0"/>
            <a:t> Audit</a:t>
          </a:r>
          <a:endParaRPr lang="fr-BE" sz="1600" kern="1200" dirty="0"/>
        </a:p>
      </dsp:txBody>
      <dsp:txXfrm>
        <a:off x="540457" y="1109762"/>
        <a:ext cx="2158152" cy="317190"/>
      </dsp:txXfrm>
    </dsp:sp>
    <dsp:sp modelId="{3F624561-BC81-4199-A425-5B78F628C0DA}">
      <dsp:nvSpPr>
        <dsp:cNvPr id="0" name=""/>
        <dsp:cNvSpPr/>
      </dsp:nvSpPr>
      <dsp:spPr>
        <a:xfrm>
          <a:off x="342213" y="1070113"/>
          <a:ext cx="396488" cy="39648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70C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42FA0CB-FD17-460F-AD0C-DDA80DA5D0C7}">
      <dsp:nvSpPr>
        <dsp:cNvPr id="0" name=""/>
        <dsp:cNvSpPr/>
      </dsp:nvSpPr>
      <dsp:spPr>
        <a:xfrm>
          <a:off x="470697" y="1585396"/>
          <a:ext cx="2227912" cy="317190"/>
        </a:xfrm>
        <a:prstGeom prst="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1770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600" kern="1200" dirty="0" err="1" smtClean="0"/>
            <a:t>Logical</a:t>
          </a:r>
          <a:r>
            <a:rPr lang="fr-FR" sz="1600" kern="1200" dirty="0" smtClean="0"/>
            <a:t> Audit</a:t>
          </a:r>
          <a:endParaRPr lang="fr-BE" sz="1600" kern="1200" dirty="0"/>
        </a:p>
      </dsp:txBody>
      <dsp:txXfrm>
        <a:off x="470697" y="1585396"/>
        <a:ext cx="2227912" cy="317190"/>
      </dsp:txXfrm>
    </dsp:sp>
    <dsp:sp modelId="{757905FD-2761-4946-9CA2-DC5BFF7A1048}">
      <dsp:nvSpPr>
        <dsp:cNvPr id="0" name=""/>
        <dsp:cNvSpPr/>
      </dsp:nvSpPr>
      <dsp:spPr>
        <a:xfrm>
          <a:off x="272453" y="1545747"/>
          <a:ext cx="396488" cy="39648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70C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43F688F-DAD3-4393-914E-5FE9E789D086}">
      <dsp:nvSpPr>
        <dsp:cNvPr id="0" name=""/>
        <dsp:cNvSpPr/>
      </dsp:nvSpPr>
      <dsp:spPr>
        <a:xfrm>
          <a:off x="243407" y="2061031"/>
          <a:ext cx="2455202" cy="317190"/>
        </a:xfrm>
        <a:prstGeom prst="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1770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600" kern="1200" dirty="0" smtClean="0"/>
            <a:t>Incident </a:t>
          </a:r>
          <a:r>
            <a:rPr lang="fr-BE" sz="1600" kern="1200" dirty="0" err="1" smtClean="0"/>
            <a:t>Mangt</a:t>
          </a:r>
          <a:endParaRPr lang="fr-BE" sz="1600" kern="1200" dirty="0"/>
        </a:p>
      </dsp:txBody>
      <dsp:txXfrm>
        <a:off x="243407" y="2061031"/>
        <a:ext cx="2455202" cy="317190"/>
      </dsp:txXfrm>
    </dsp:sp>
    <dsp:sp modelId="{1C25B517-3B04-4661-B307-2DFBAF8DD88B}">
      <dsp:nvSpPr>
        <dsp:cNvPr id="0" name=""/>
        <dsp:cNvSpPr/>
      </dsp:nvSpPr>
      <dsp:spPr>
        <a:xfrm>
          <a:off x="45163" y="2021382"/>
          <a:ext cx="396488" cy="39648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70C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C34EAFA-82B2-4E56-BEE0-F534DA6A3479}">
      <dsp:nvSpPr>
        <dsp:cNvPr id="0" name=""/>
        <dsp:cNvSpPr/>
      </dsp:nvSpPr>
      <dsp:spPr>
        <a:xfrm>
          <a:off x="-2866394" y="-441715"/>
          <a:ext cx="3420146" cy="3420146"/>
        </a:xfrm>
        <a:prstGeom prst="blockArc">
          <a:avLst>
            <a:gd name="adj1" fmla="val 18900000"/>
            <a:gd name="adj2" fmla="val 2700000"/>
            <a:gd name="adj3" fmla="val 632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C31567A-1249-4AE3-8CC4-45E88B79BEFB}">
      <dsp:nvSpPr>
        <dsp:cNvPr id="0" name=""/>
        <dsp:cNvSpPr/>
      </dsp:nvSpPr>
      <dsp:spPr>
        <a:xfrm>
          <a:off x="321655" y="195022"/>
          <a:ext cx="2408019" cy="390248"/>
        </a:xfrm>
        <a:prstGeom prst="rect">
          <a:avLst/>
        </a:prstGeom>
        <a:solidFill>
          <a:srgbClr val="6A92D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9760" tIns="27940" rIns="27940" bIns="2794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100" kern="1200" dirty="0" smtClean="0"/>
            <a:t>Analyse de Log / d’Event</a:t>
          </a:r>
          <a:endParaRPr lang="fr-BE" sz="1100" kern="1200" dirty="0"/>
        </a:p>
      </dsp:txBody>
      <dsp:txXfrm>
        <a:off x="321655" y="195022"/>
        <a:ext cx="2408019" cy="390248"/>
      </dsp:txXfrm>
    </dsp:sp>
    <dsp:sp modelId="{B97EEBE8-718C-45C8-8E5D-CA146AEE8F87}">
      <dsp:nvSpPr>
        <dsp:cNvPr id="0" name=""/>
        <dsp:cNvSpPr/>
      </dsp:nvSpPr>
      <dsp:spPr>
        <a:xfrm>
          <a:off x="46685" y="146241"/>
          <a:ext cx="487810" cy="48781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70C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8865DED-BE1F-4EAA-8457-EB61028791D5}">
      <dsp:nvSpPr>
        <dsp:cNvPr id="0" name=""/>
        <dsp:cNvSpPr/>
      </dsp:nvSpPr>
      <dsp:spPr>
        <a:xfrm>
          <a:off x="514329" y="780496"/>
          <a:ext cx="2184281" cy="390248"/>
        </a:xfrm>
        <a:prstGeom prst="rect">
          <a:avLst/>
        </a:prstGeom>
        <a:solidFill>
          <a:srgbClr val="6A92D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9760" tIns="27940" rIns="27940" bIns="2794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100" kern="1200" dirty="0" smtClean="0">
              <a:solidFill>
                <a:schemeClr val="bg1"/>
              </a:solidFill>
            </a:rPr>
            <a:t>Firewall / IDS / (reverse) Proxy / </a:t>
          </a:r>
          <a:r>
            <a:rPr lang="fr-FR" sz="1100" kern="1200" dirty="0" err="1" smtClean="0">
              <a:solidFill>
                <a:schemeClr val="bg1"/>
              </a:solidFill>
            </a:rPr>
            <a:t>AntiMalware</a:t>
          </a:r>
          <a:endParaRPr lang="fr-BE" sz="1100" kern="1200" dirty="0"/>
        </a:p>
      </dsp:txBody>
      <dsp:txXfrm>
        <a:off x="514329" y="780496"/>
        <a:ext cx="2184281" cy="390248"/>
      </dsp:txXfrm>
    </dsp:sp>
    <dsp:sp modelId="{01158141-E688-43A8-9BBE-B8037500A26D}">
      <dsp:nvSpPr>
        <dsp:cNvPr id="0" name=""/>
        <dsp:cNvSpPr/>
      </dsp:nvSpPr>
      <dsp:spPr>
        <a:xfrm>
          <a:off x="270423" y="731715"/>
          <a:ext cx="487810" cy="48781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70C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7EFFF2A-C399-4E5A-B214-C3CC06EA217F}">
      <dsp:nvSpPr>
        <dsp:cNvPr id="0" name=""/>
        <dsp:cNvSpPr/>
      </dsp:nvSpPr>
      <dsp:spPr>
        <a:xfrm>
          <a:off x="514329" y="1365970"/>
          <a:ext cx="2184281" cy="390248"/>
        </a:xfrm>
        <a:prstGeom prst="rect">
          <a:avLst/>
        </a:prstGeom>
        <a:solidFill>
          <a:srgbClr val="6A92D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9760" tIns="27940" rIns="27940" bIns="2794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100" kern="1200" dirty="0" smtClean="0">
              <a:solidFill>
                <a:schemeClr val="bg1"/>
              </a:solidFill>
            </a:rPr>
            <a:t>Segmentation réseau  - filtrage de protocole</a:t>
          </a:r>
          <a:endParaRPr lang="fr-BE" sz="1100" kern="1200" dirty="0"/>
        </a:p>
      </dsp:txBody>
      <dsp:txXfrm>
        <a:off x="514329" y="1365970"/>
        <a:ext cx="2184281" cy="390248"/>
      </dsp:txXfrm>
    </dsp:sp>
    <dsp:sp modelId="{3F624561-BC81-4199-A425-5B78F628C0DA}">
      <dsp:nvSpPr>
        <dsp:cNvPr id="0" name=""/>
        <dsp:cNvSpPr/>
      </dsp:nvSpPr>
      <dsp:spPr>
        <a:xfrm>
          <a:off x="270423" y="1317189"/>
          <a:ext cx="487810" cy="48781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70C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42FA0CB-FD17-460F-AD0C-DDA80DA5D0C7}">
      <dsp:nvSpPr>
        <dsp:cNvPr id="0" name=""/>
        <dsp:cNvSpPr/>
      </dsp:nvSpPr>
      <dsp:spPr>
        <a:xfrm>
          <a:off x="261381" y="1923877"/>
          <a:ext cx="2408019" cy="390248"/>
        </a:xfrm>
        <a:prstGeom prst="rect">
          <a:avLst/>
        </a:prstGeom>
        <a:solidFill>
          <a:srgbClr val="6A92D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9760" tIns="27940" rIns="27940" bIns="2794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100" kern="1200" dirty="0" smtClean="0"/>
            <a:t>Patch – </a:t>
          </a:r>
          <a:r>
            <a:rPr lang="fr-BE" sz="1100" kern="1200" dirty="0" err="1" smtClean="0"/>
            <a:t>Vulnerability</a:t>
          </a:r>
          <a:r>
            <a:rPr lang="fr-BE" sz="1100" kern="1200" dirty="0" smtClean="0"/>
            <a:t> management</a:t>
          </a:r>
          <a:endParaRPr lang="fr-BE" sz="1100" kern="1200" dirty="0"/>
        </a:p>
      </dsp:txBody>
      <dsp:txXfrm>
        <a:off x="261381" y="1923877"/>
        <a:ext cx="2408019" cy="390248"/>
      </dsp:txXfrm>
    </dsp:sp>
    <dsp:sp modelId="{757905FD-2761-4946-9CA2-DC5BFF7A1048}">
      <dsp:nvSpPr>
        <dsp:cNvPr id="0" name=""/>
        <dsp:cNvSpPr/>
      </dsp:nvSpPr>
      <dsp:spPr>
        <a:xfrm>
          <a:off x="46685" y="1902663"/>
          <a:ext cx="487810" cy="48781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70C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C34EAFA-82B2-4E56-BEE0-F534DA6A3479}">
      <dsp:nvSpPr>
        <dsp:cNvPr id="0" name=""/>
        <dsp:cNvSpPr/>
      </dsp:nvSpPr>
      <dsp:spPr>
        <a:xfrm>
          <a:off x="-2794971" y="-430856"/>
          <a:ext cx="3335300" cy="3335300"/>
        </a:xfrm>
        <a:prstGeom prst="blockArc">
          <a:avLst>
            <a:gd name="adj1" fmla="val 18900000"/>
            <a:gd name="adj2" fmla="val 2700000"/>
            <a:gd name="adj3" fmla="val 648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FE5010-F9D5-443C-B31C-0A4BFC0E7AA2}">
      <dsp:nvSpPr>
        <dsp:cNvPr id="0" name=""/>
        <dsp:cNvSpPr/>
      </dsp:nvSpPr>
      <dsp:spPr>
        <a:xfrm>
          <a:off x="283583" y="190169"/>
          <a:ext cx="2397081" cy="380536"/>
        </a:xfrm>
        <a:prstGeom prst="rect">
          <a:avLst/>
        </a:prstGeom>
        <a:solidFill>
          <a:srgbClr val="00B0F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2051" tIns="30480" rIns="30480" bIns="3048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Politique – Normes – Modèles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Registre/PIA/consentement</a:t>
          </a:r>
          <a:endParaRPr lang="fr-FR" sz="1200" kern="1200" dirty="0"/>
        </a:p>
      </dsp:txBody>
      <dsp:txXfrm>
        <a:off x="283583" y="190169"/>
        <a:ext cx="2397081" cy="380536"/>
      </dsp:txXfrm>
    </dsp:sp>
    <dsp:sp modelId="{DA634839-97D9-4A7F-89B0-5FE9B941A908}">
      <dsp:nvSpPr>
        <dsp:cNvPr id="0" name=""/>
        <dsp:cNvSpPr/>
      </dsp:nvSpPr>
      <dsp:spPr>
        <a:xfrm>
          <a:off x="45747" y="142602"/>
          <a:ext cx="475670" cy="47567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8CF4552-8F47-481F-A3FA-780F9DFEC56D}">
      <dsp:nvSpPr>
        <dsp:cNvPr id="0" name=""/>
        <dsp:cNvSpPr/>
      </dsp:nvSpPr>
      <dsp:spPr>
        <a:xfrm>
          <a:off x="501753" y="761073"/>
          <a:ext cx="2178910" cy="380536"/>
        </a:xfrm>
        <a:prstGeom prst="rect">
          <a:avLst/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2051" tIns="30480" rIns="30480" bIns="3048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Comité Confidentialité Sécurité de l’Information</a:t>
          </a:r>
          <a:endParaRPr lang="fr-FR" sz="1200" kern="1200" dirty="0"/>
        </a:p>
      </dsp:txBody>
      <dsp:txXfrm>
        <a:off x="501753" y="761073"/>
        <a:ext cx="2178910" cy="380536"/>
      </dsp:txXfrm>
    </dsp:sp>
    <dsp:sp modelId="{E2428A20-C205-41B8-BBA3-6EE1310CBC53}">
      <dsp:nvSpPr>
        <dsp:cNvPr id="0" name=""/>
        <dsp:cNvSpPr/>
      </dsp:nvSpPr>
      <dsp:spPr>
        <a:xfrm>
          <a:off x="263918" y="713506"/>
          <a:ext cx="475670" cy="47567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EC00844-76D1-46D0-ACF0-76B2B5F4F39A}">
      <dsp:nvSpPr>
        <dsp:cNvPr id="0" name=""/>
        <dsp:cNvSpPr/>
      </dsp:nvSpPr>
      <dsp:spPr>
        <a:xfrm>
          <a:off x="501753" y="1331977"/>
          <a:ext cx="2178910" cy="380536"/>
        </a:xfrm>
        <a:prstGeom prst="rect">
          <a:avLst/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2051" tIns="30480" rIns="30480" bIns="3048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Procédure – Certification interne</a:t>
          </a:r>
          <a:endParaRPr lang="fr-FR" sz="1200" kern="1200" dirty="0"/>
        </a:p>
      </dsp:txBody>
      <dsp:txXfrm>
        <a:off x="501753" y="1331977"/>
        <a:ext cx="2178910" cy="380536"/>
      </dsp:txXfrm>
    </dsp:sp>
    <dsp:sp modelId="{68F1340E-9D70-4E47-A56B-A62D8A875EFB}">
      <dsp:nvSpPr>
        <dsp:cNvPr id="0" name=""/>
        <dsp:cNvSpPr/>
      </dsp:nvSpPr>
      <dsp:spPr>
        <a:xfrm>
          <a:off x="263918" y="1284410"/>
          <a:ext cx="475670" cy="47567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B692CDB-859B-410C-8D0C-EB919C38EFE2}">
      <dsp:nvSpPr>
        <dsp:cNvPr id="0" name=""/>
        <dsp:cNvSpPr/>
      </dsp:nvSpPr>
      <dsp:spPr>
        <a:xfrm>
          <a:off x="283583" y="1902881"/>
          <a:ext cx="2397081" cy="380536"/>
        </a:xfrm>
        <a:prstGeom prst="rect">
          <a:avLst/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2051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400" kern="1200" dirty="0" smtClean="0"/>
            <a:t>Suivi d’indicateurs</a:t>
          </a:r>
          <a:endParaRPr lang="fr-BE" sz="1400" kern="1200" dirty="0"/>
        </a:p>
      </dsp:txBody>
      <dsp:txXfrm>
        <a:off x="283583" y="1902881"/>
        <a:ext cx="2397081" cy="380536"/>
      </dsp:txXfrm>
    </dsp:sp>
    <dsp:sp modelId="{9919A620-12D3-449F-99A9-9C8520AABFF1}">
      <dsp:nvSpPr>
        <dsp:cNvPr id="0" name=""/>
        <dsp:cNvSpPr/>
      </dsp:nvSpPr>
      <dsp:spPr>
        <a:xfrm>
          <a:off x="45747" y="1855313"/>
          <a:ext cx="475670" cy="47567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C34EAFA-82B2-4E56-BEE0-F534DA6A3479}">
      <dsp:nvSpPr>
        <dsp:cNvPr id="0" name=""/>
        <dsp:cNvSpPr/>
      </dsp:nvSpPr>
      <dsp:spPr>
        <a:xfrm>
          <a:off x="-2210463" y="-341996"/>
          <a:ext cx="2640947" cy="2640947"/>
        </a:xfrm>
        <a:prstGeom prst="blockArc">
          <a:avLst>
            <a:gd name="adj1" fmla="val 18900000"/>
            <a:gd name="adj2" fmla="val 2700000"/>
            <a:gd name="adj3" fmla="val 818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FE5010-F9D5-443C-B31C-0A4BFC0E7AA2}">
      <dsp:nvSpPr>
        <dsp:cNvPr id="0" name=""/>
        <dsp:cNvSpPr/>
      </dsp:nvSpPr>
      <dsp:spPr>
        <a:xfrm>
          <a:off x="189834" y="122270"/>
          <a:ext cx="2368269" cy="244697"/>
        </a:xfrm>
        <a:prstGeom prst="rect">
          <a:avLst/>
        </a:prstGeom>
        <a:solidFill>
          <a:srgbClr val="00206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4229" tIns="30480" rIns="30480" bIns="3048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Cartographie des processus</a:t>
          </a:r>
          <a:endParaRPr lang="fr-FR" sz="1100" kern="1200" dirty="0"/>
        </a:p>
      </dsp:txBody>
      <dsp:txXfrm>
        <a:off x="189834" y="122270"/>
        <a:ext cx="2368269" cy="244697"/>
      </dsp:txXfrm>
    </dsp:sp>
    <dsp:sp modelId="{DA634839-97D9-4A7F-89B0-5FE9B941A908}">
      <dsp:nvSpPr>
        <dsp:cNvPr id="0" name=""/>
        <dsp:cNvSpPr/>
      </dsp:nvSpPr>
      <dsp:spPr>
        <a:xfrm>
          <a:off x="36898" y="91683"/>
          <a:ext cx="305872" cy="30587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8CF4552-8F47-481F-A3FA-780F9DFEC56D}">
      <dsp:nvSpPr>
        <dsp:cNvPr id="0" name=""/>
        <dsp:cNvSpPr/>
      </dsp:nvSpPr>
      <dsp:spPr>
        <a:xfrm>
          <a:off x="365177" y="489199"/>
          <a:ext cx="2192926" cy="244697"/>
        </a:xfrm>
        <a:prstGeom prst="rect">
          <a:avLst/>
        </a:prstGeom>
        <a:solidFill>
          <a:srgbClr val="00206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4229" tIns="30480" rIns="30480" bIns="3048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Catégorisation des données</a:t>
          </a:r>
          <a:endParaRPr lang="fr-FR" sz="1200" kern="1200" dirty="0"/>
        </a:p>
      </dsp:txBody>
      <dsp:txXfrm>
        <a:off x="365177" y="489199"/>
        <a:ext cx="2192926" cy="244697"/>
      </dsp:txXfrm>
    </dsp:sp>
    <dsp:sp modelId="{E2428A20-C205-41B8-BBA3-6EE1310CBC53}">
      <dsp:nvSpPr>
        <dsp:cNvPr id="0" name=""/>
        <dsp:cNvSpPr/>
      </dsp:nvSpPr>
      <dsp:spPr>
        <a:xfrm>
          <a:off x="212241" y="458612"/>
          <a:ext cx="305872" cy="30587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AF24BB-1246-4953-A765-D641A21F5214}">
      <dsp:nvSpPr>
        <dsp:cNvPr id="0" name=""/>
        <dsp:cNvSpPr/>
      </dsp:nvSpPr>
      <dsp:spPr>
        <a:xfrm>
          <a:off x="418993" y="856128"/>
          <a:ext cx="2139110" cy="244697"/>
        </a:xfrm>
        <a:prstGeom prst="rect">
          <a:avLst/>
        </a:prstGeom>
        <a:solidFill>
          <a:srgbClr val="00206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4229" tIns="27940" rIns="27940" bIns="2794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100" kern="1200" dirty="0" smtClean="0"/>
            <a:t>Modèle </a:t>
          </a:r>
          <a:r>
            <a:rPr lang="fr-BE" sz="1100" kern="1200" dirty="0" err="1" smtClean="0"/>
            <a:t>fct</a:t>
          </a:r>
          <a:r>
            <a:rPr lang="fr-BE" sz="1100" kern="1200" dirty="0" smtClean="0"/>
            <a:t> (finalité, localisation)</a:t>
          </a:r>
          <a:endParaRPr lang="fr-BE" sz="1100" kern="1200" dirty="0"/>
        </a:p>
      </dsp:txBody>
      <dsp:txXfrm>
        <a:off x="418993" y="856128"/>
        <a:ext cx="2139110" cy="244697"/>
      </dsp:txXfrm>
    </dsp:sp>
    <dsp:sp modelId="{679ED4DC-F966-4936-91C2-ADA60FC2F378}">
      <dsp:nvSpPr>
        <dsp:cNvPr id="0" name=""/>
        <dsp:cNvSpPr/>
      </dsp:nvSpPr>
      <dsp:spPr>
        <a:xfrm>
          <a:off x="266057" y="825541"/>
          <a:ext cx="305872" cy="30587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45B41C5-CFB8-4100-A9F0-494F9533B386}">
      <dsp:nvSpPr>
        <dsp:cNvPr id="0" name=""/>
        <dsp:cNvSpPr/>
      </dsp:nvSpPr>
      <dsp:spPr>
        <a:xfrm>
          <a:off x="365177" y="1223057"/>
          <a:ext cx="2192926" cy="244697"/>
        </a:xfrm>
        <a:prstGeom prst="rect">
          <a:avLst/>
        </a:prstGeom>
        <a:solidFill>
          <a:srgbClr val="00206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4229" tIns="30480" rIns="30480" bIns="3048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Certification  auditée (PIA)</a:t>
          </a:r>
          <a:endParaRPr lang="fr-FR" sz="1200" kern="1200" dirty="0"/>
        </a:p>
      </dsp:txBody>
      <dsp:txXfrm>
        <a:off x="365177" y="1223057"/>
        <a:ext cx="2192926" cy="244697"/>
      </dsp:txXfrm>
    </dsp:sp>
    <dsp:sp modelId="{68F1340E-9D70-4E47-A56B-A62D8A875EFB}">
      <dsp:nvSpPr>
        <dsp:cNvPr id="0" name=""/>
        <dsp:cNvSpPr/>
      </dsp:nvSpPr>
      <dsp:spPr>
        <a:xfrm>
          <a:off x="212241" y="1192470"/>
          <a:ext cx="305872" cy="30587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06FCA50-FF0F-41FF-B374-778A74D0D4C7}">
      <dsp:nvSpPr>
        <dsp:cNvPr id="0" name=""/>
        <dsp:cNvSpPr/>
      </dsp:nvSpPr>
      <dsp:spPr>
        <a:xfrm>
          <a:off x="189834" y="1589986"/>
          <a:ext cx="2368269" cy="244697"/>
        </a:xfrm>
        <a:prstGeom prst="rect">
          <a:avLst/>
        </a:prstGeom>
        <a:solidFill>
          <a:srgbClr val="00206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4229" tIns="30480" rIns="30480" bIns="3048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Registre de traitements</a:t>
          </a:r>
          <a:endParaRPr lang="fr-FR" sz="1200" kern="1200" dirty="0"/>
        </a:p>
      </dsp:txBody>
      <dsp:txXfrm>
        <a:off x="189834" y="1589986"/>
        <a:ext cx="2368269" cy="244697"/>
      </dsp:txXfrm>
    </dsp:sp>
    <dsp:sp modelId="{FE6EA34A-EE37-4E07-967E-5945F481AC39}">
      <dsp:nvSpPr>
        <dsp:cNvPr id="0" name=""/>
        <dsp:cNvSpPr/>
      </dsp:nvSpPr>
      <dsp:spPr>
        <a:xfrm>
          <a:off x="36898" y="1559399"/>
          <a:ext cx="305872" cy="30587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C34EAFA-82B2-4E56-BEE0-F534DA6A3479}">
      <dsp:nvSpPr>
        <dsp:cNvPr id="0" name=""/>
        <dsp:cNvSpPr/>
      </dsp:nvSpPr>
      <dsp:spPr>
        <a:xfrm>
          <a:off x="-2091236" y="-323870"/>
          <a:ext cx="2499314" cy="2499314"/>
        </a:xfrm>
        <a:prstGeom prst="blockArc">
          <a:avLst>
            <a:gd name="adj1" fmla="val 18900000"/>
            <a:gd name="adj2" fmla="val 2700000"/>
            <a:gd name="adj3" fmla="val 864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FE5010-F9D5-443C-B31C-0A4BFC0E7AA2}">
      <dsp:nvSpPr>
        <dsp:cNvPr id="0" name=""/>
        <dsp:cNvSpPr/>
      </dsp:nvSpPr>
      <dsp:spPr>
        <a:xfrm>
          <a:off x="214535" y="142348"/>
          <a:ext cx="2345232" cy="284845"/>
        </a:xfrm>
        <a:prstGeom prst="rect">
          <a:avLst/>
        </a:prstGeom>
        <a:solidFill>
          <a:srgbClr val="0070C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6097" tIns="30480" rIns="30480" bIns="3048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Data </a:t>
          </a:r>
          <a:r>
            <a:rPr lang="fr-FR" sz="1200" kern="1200" dirty="0" err="1" smtClean="0"/>
            <a:t>controller</a:t>
          </a:r>
          <a:r>
            <a:rPr lang="fr-FR" sz="1200" kern="1200" dirty="0" smtClean="0"/>
            <a:t> / </a:t>
          </a:r>
          <a:r>
            <a:rPr lang="fr-FR" sz="1200" kern="1200" dirty="0" err="1" smtClean="0"/>
            <a:t>operator</a:t>
          </a:r>
          <a:r>
            <a:rPr lang="fr-FR" sz="1200" kern="1200" dirty="0" smtClean="0"/>
            <a:t> / DPO</a:t>
          </a:r>
          <a:endParaRPr lang="fr-FR" sz="1200" kern="1200" dirty="0"/>
        </a:p>
      </dsp:txBody>
      <dsp:txXfrm>
        <a:off x="214535" y="142348"/>
        <a:ext cx="2345232" cy="284845"/>
      </dsp:txXfrm>
    </dsp:sp>
    <dsp:sp modelId="{DA634839-97D9-4A7F-89B0-5FE9B941A908}">
      <dsp:nvSpPr>
        <dsp:cNvPr id="0" name=""/>
        <dsp:cNvSpPr/>
      </dsp:nvSpPr>
      <dsp:spPr>
        <a:xfrm>
          <a:off x="36507" y="106743"/>
          <a:ext cx="356057" cy="356057"/>
        </a:xfrm>
        <a:prstGeom prst="ellipse">
          <a:avLst/>
        </a:prstGeom>
        <a:solidFill>
          <a:schemeClr val="bg1"/>
        </a:solidFill>
        <a:ln w="25400" cap="flat" cmpd="sng" algn="ctr">
          <a:solidFill>
            <a:srgbClr val="0070C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95C23B2-30AA-4157-93B5-C067DD376044}">
      <dsp:nvSpPr>
        <dsp:cNvPr id="0" name=""/>
        <dsp:cNvSpPr/>
      </dsp:nvSpPr>
      <dsp:spPr>
        <a:xfrm>
          <a:off x="377844" y="569691"/>
          <a:ext cx="2181923" cy="284845"/>
        </a:xfrm>
        <a:prstGeom prst="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6097" tIns="30480" rIns="30480" bIns="3048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Sous-traitant</a:t>
          </a:r>
          <a:endParaRPr lang="fr-FR" sz="1200" kern="1200" dirty="0"/>
        </a:p>
      </dsp:txBody>
      <dsp:txXfrm>
        <a:off x="377844" y="569691"/>
        <a:ext cx="2181923" cy="284845"/>
      </dsp:txXfrm>
    </dsp:sp>
    <dsp:sp modelId="{68F1340E-9D70-4E47-A56B-A62D8A875EFB}">
      <dsp:nvSpPr>
        <dsp:cNvPr id="0" name=""/>
        <dsp:cNvSpPr/>
      </dsp:nvSpPr>
      <dsp:spPr>
        <a:xfrm>
          <a:off x="199815" y="534086"/>
          <a:ext cx="356057" cy="356057"/>
        </a:xfrm>
        <a:prstGeom prst="ellipse">
          <a:avLst/>
        </a:prstGeom>
        <a:solidFill>
          <a:schemeClr val="bg1"/>
        </a:solidFill>
        <a:ln w="25400" cap="flat" cmpd="sng" algn="ctr">
          <a:solidFill>
            <a:srgbClr val="0070C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CFEFB93-AB51-4EB3-AD03-87AC0C6B267F}">
      <dsp:nvSpPr>
        <dsp:cNvPr id="0" name=""/>
        <dsp:cNvSpPr/>
      </dsp:nvSpPr>
      <dsp:spPr>
        <a:xfrm>
          <a:off x="377844" y="997035"/>
          <a:ext cx="2181923" cy="284845"/>
        </a:xfrm>
        <a:prstGeom prst="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6097" tIns="30480" rIns="30480" bIns="3048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Contrat + SLA / audit</a:t>
          </a:r>
          <a:endParaRPr lang="fr-FR" sz="1200" kern="1200" dirty="0"/>
        </a:p>
      </dsp:txBody>
      <dsp:txXfrm>
        <a:off x="377844" y="997035"/>
        <a:ext cx="2181923" cy="284845"/>
      </dsp:txXfrm>
    </dsp:sp>
    <dsp:sp modelId="{4BE2367F-8049-4FA0-9F5A-23560686B6E4}">
      <dsp:nvSpPr>
        <dsp:cNvPr id="0" name=""/>
        <dsp:cNvSpPr/>
      </dsp:nvSpPr>
      <dsp:spPr>
        <a:xfrm>
          <a:off x="199815" y="961429"/>
          <a:ext cx="356057" cy="356057"/>
        </a:xfrm>
        <a:prstGeom prst="ellipse">
          <a:avLst/>
        </a:prstGeom>
        <a:solidFill>
          <a:schemeClr val="bg1"/>
        </a:solidFill>
        <a:ln w="25400" cap="flat" cmpd="sng" algn="ctr">
          <a:solidFill>
            <a:srgbClr val="0070C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240AA13-E82E-47C1-8361-B86C072F9BAA}">
      <dsp:nvSpPr>
        <dsp:cNvPr id="0" name=""/>
        <dsp:cNvSpPr/>
      </dsp:nvSpPr>
      <dsp:spPr>
        <a:xfrm>
          <a:off x="214535" y="1424378"/>
          <a:ext cx="2345232" cy="284845"/>
        </a:xfrm>
        <a:prstGeom prst="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6097" tIns="30480" rIns="30480" bIns="3048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Exigences (modèle adéquat)</a:t>
          </a:r>
          <a:endParaRPr lang="fr-FR" sz="1200" kern="1200" dirty="0"/>
        </a:p>
      </dsp:txBody>
      <dsp:txXfrm>
        <a:off x="214535" y="1424378"/>
        <a:ext cx="2345232" cy="284845"/>
      </dsp:txXfrm>
    </dsp:sp>
    <dsp:sp modelId="{C0E73059-3CA2-47A3-8745-6B7FD54D40AA}">
      <dsp:nvSpPr>
        <dsp:cNvPr id="0" name=""/>
        <dsp:cNvSpPr/>
      </dsp:nvSpPr>
      <dsp:spPr>
        <a:xfrm>
          <a:off x="36507" y="1388772"/>
          <a:ext cx="356057" cy="356057"/>
        </a:xfrm>
        <a:prstGeom prst="ellipse">
          <a:avLst/>
        </a:prstGeom>
        <a:solidFill>
          <a:schemeClr val="bg1"/>
        </a:solidFill>
        <a:ln w="25400" cap="flat" cmpd="sng" algn="ctr">
          <a:solidFill>
            <a:srgbClr val="0070C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C34EAFA-82B2-4E56-BEE0-F534DA6A3479}">
      <dsp:nvSpPr>
        <dsp:cNvPr id="0" name=""/>
        <dsp:cNvSpPr/>
      </dsp:nvSpPr>
      <dsp:spPr>
        <a:xfrm>
          <a:off x="-1730575" y="-269040"/>
          <a:ext cx="2070875" cy="2070875"/>
        </a:xfrm>
        <a:prstGeom prst="blockArc">
          <a:avLst>
            <a:gd name="adj1" fmla="val 18900000"/>
            <a:gd name="adj2" fmla="val 2700000"/>
            <a:gd name="adj3" fmla="val 1043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FE5010-F9D5-443C-B31C-0A4BFC0E7AA2}">
      <dsp:nvSpPr>
        <dsp:cNvPr id="0" name=""/>
        <dsp:cNvSpPr/>
      </dsp:nvSpPr>
      <dsp:spPr>
        <a:xfrm>
          <a:off x="218695" y="153279"/>
          <a:ext cx="2102191" cy="306558"/>
        </a:xfrm>
        <a:prstGeom prst="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3331" tIns="27940" rIns="27940" bIns="2794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100" kern="1200" dirty="0" smtClean="0"/>
            <a:t>Droit de regard / consultation</a:t>
          </a:r>
          <a:endParaRPr lang="fr-FR" sz="1050" kern="1200" dirty="0"/>
        </a:p>
      </dsp:txBody>
      <dsp:txXfrm>
        <a:off x="218695" y="153279"/>
        <a:ext cx="2102191" cy="306558"/>
      </dsp:txXfrm>
    </dsp:sp>
    <dsp:sp modelId="{DA634839-97D9-4A7F-89B0-5FE9B941A908}">
      <dsp:nvSpPr>
        <dsp:cNvPr id="0" name=""/>
        <dsp:cNvSpPr/>
      </dsp:nvSpPr>
      <dsp:spPr>
        <a:xfrm>
          <a:off x="27096" y="114959"/>
          <a:ext cx="383198" cy="38319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70C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8CF4552-8F47-481F-A3FA-780F9DFEC56D}">
      <dsp:nvSpPr>
        <dsp:cNvPr id="0" name=""/>
        <dsp:cNvSpPr/>
      </dsp:nvSpPr>
      <dsp:spPr>
        <a:xfrm>
          <a:off x="330129" y="613117"/>
          <a:ext cx="1990757" cy="306558"/>
        </a:xfrm>
        <a:prstGeom prst="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3331" tIns="27940" rIns="27940" bIns="2794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100" kern="1200" dirty="0" smtClean="0"/>
            <a:t>Rectification / effacement</a:t>
          </a:r>
          <a:endParaRPr lang="fr-FR" sz="1100" kern="1200" dirty="0"/>
        </a:p>
      </dsp:txBody>
      <dsp:txXfrm>
        <a:off x="330129" y="613117"/>
        <a:ext cx="1990757" cy="306558"/>
      </dsp:txXfrm>
    </dsp:sp>
    <dsp:sp modelId="{E2428A20-C205-41B8-BBA3-6EE1310CBC53}">
      <dsp:nvSpPr>
        <dsp:cNvPr id="0" name=""/>
        <dsp:cNvSpPr/>
      </dsp:nvSpPr>
      <dsp:spPr>
        <a:xfrm>
          <a:off x="138530" y="574797"/>
          <a:ext cx="383198" cy="38319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70C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EC00844-76D1-46D0-ACF0-76B2B5F4F39A}">
      <dsp:nvSpPr>
        <dsp:cNvPr id="0" name=""/>
        <dsp:cNvSpPr/>
      </dsp:nvSpPr>
      <dsp:spPr>
        <a:xfrm>
          <a:off x="218695" y="1072955"/>
          <a:ext cx="2102191" cy="306558"/>
        </a:xfrm>
        <a:prstGeom prst="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3331" tIns="27940" rIns="27940" bIns="27940" numCol="1" spcCol="1270" anchor="ctr" anchorCtr="0">
          <a:noAutofit/>
        </a:bodyPr>
        <a:lstStyle/>
        <a:p>
          <a:pPr lvl="0" algn="l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50" kern="1200" dirty="0" smtClean="0"/>
            <a:t>portabilité</a:t>
          </a:r>
          <a:endParaRPr lang="fr-FR" sz="1100" kern="1200" dirty="0"/>
        </a:p>
      </dsp:txBody>
      <dsp:txXfrm>
        <a:off x="218695" y="1072955"/>
        <a:ext cx="2102191" cy="306558"/>
      </dsp:txXfrm>
    </dsp:sp>
    <dsp:sp modelId="{68F1340E-9D70-4E47-A56B-A62D8A875EFB}">
      <dsp:nvSpPr>
        <dsp:cNvPr id="0" name=""/>
        <dsp:cNvSpPr/>
      </dsp:nvSpPr>
      <dsp:spPr>
        <a:xfrm>
          <a:off x="27096" y="1034635"/>
          <a:ext cx="383198" cy="38319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70C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C34EAFA-82B2-4E56-BEE0-F534DA6A3479}">
      <dsp:nvSpPr>
        <dsp:cNvPr id="0" name=""/>
        <dsp:cNvSpPr/>
      </dsp:nvSpPr>
      <dsp:spPr>
        <a:xfrm>
          <a:off x="-2091236" y="-323870"/>
          <a:ext cx="2499314" cy="2499314"/>
        </a:xfrm>
        <a:prstGeom prst="blockArc">
          <a:avLst>
            <a:gd name="adj1" fmla="val 18900000"/>
            <a:gd name="adj2" fmla="val 2700000"/>
            <a:gd name="adj3" fmla="val 864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FE5010-F9D5-443C-B31C-0A4BFC0E7AA2}">
      <dsp:nvSpPr>
        <dsp:cNvPr id="0" name=""/>
        <dsp:cNvSpPr/>
      </dsp:nvSpPr>
      <dsp:spPr>
        <a:xfrm>
          <a:off x="262306" y="185157"/>
          <a:ext cx="2297461" cy="370314"/>
        </a:xfrm>
        <a:prstGeom prst="rect">
          <a:avLst/>
        </a:prstGeom>
        <a:solidFill>
          <a:srgbClr val="00206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3937" tIns="30480" rIns="30480" bIns="3048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Catégorisation données  + durée conservation</a:t>
          </a:r>
          <a:endParaRPr lang="fr-FR" sz="1200" kern="1200" dirty="0"/>
        </a:p>
      </dsp:txBody>
      <dsp:txXfrm>
        <a:off x="262306" y="185157"/>
        <a:ext cx="2297461" cy="370314"/>
      </dsp:txXfrm>
    </dsp:sp>
    <dsp:sp modelId="{DA634839-97D9-4A7F-89B0-5FE9B941A908}">
      <dsp:nvSpPr>
        <dsp:cNvPr id="0" name=""/>
        <dsp:cNvSpPr/>
      </dsp:nvSpPr>
      <dsp:spPr>
        <a:xfrm>
          <a:off x="30859" y="138867"/>
          <a:ext cx="462893" cy="46289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206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88040A8-407A-4E65-ADF0-E5962B869E20}">
      <dsp:nvSpPr>
        <dsp:cNvPr id="0" name=""/>
        <dsp:cNvSpPr/>
      </dsp:nvSpPr>
      <dsp:spPr>
        <a:xfrm>
          <a:off x="396915" y="740629"/>
          <a:ext cx="2162852" cy="370314"/>
        </a:xfrm>
        <a:prstGeom prst="rect">
          <a:avLst/>
        </a:prstGeom>
        <a:solidFill>
          <a:srgbClr val="00206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3937" tIns="30480" rIns="30480" bIns="3048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Finalité et  minimalisation</a:t>
          </a:r>
          <a:endParaRPr lang="fr-FR" sz="1200" kern="1200" dirty="0"/>
        </a:p>
      </dsp:txBody>
      <dsp:txXfrm>
        <a:off x="396915" y="740629"/>
        <a:ext cx="2162852" cy="370314"/>
      </dsp:txXfrm>
    </dsp:sp>
    <dsp:sp modelId="{4BE2367F-8049-4FA0-9F5A-23560686B6E4}">
      <dsp:nvSpPr>
        <dsp:cNvPr id="0" name=""/>
        <dsp:cNvSpPr/>
      </dsp:nvSpPr>
      <dsp:spPr>
        <a:xfrm>
          <a:off x="165469" y="694339"/>
          <a:ext cx="462893" cy="46289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206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8170911-94C4-4502-BCAB-4EEFADFAAA0C}">
      <dsp:nvSpPr>
        <dsp:cNvPr id="0" name=""/>
        <dsp:cNvSpPr/>
      </dsp:nvSpPr>
      <dsp:spPr>
        <a:xfrm>
          <a:off x="262306" y="1296101"/>
          <a:ext cx="2297461" cy="370314"/>
        </a:xfrm>
        <a:prstGeom prst="rect">
          <a:avLst/>
        </a:prstGeom>
        <a:solidFill>
          <a:srgbClr val="00206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3937" tIns="30480" rIns="30480" bIns="3048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Exigences (cryptage, masquage, habilitation)</a:t>
          </a:r>
          <a:endParaRPr lang="fr-FR" sz="1200" kern="1200" dirty="0"/>
        </a:p>
      </dsp:txBody>
      <dsp:txXfrm>
        <a:off x="262306" y="1296101"/>
        <a:ext cx="2297461" cy="370314"/>
      </dsp:txXfrm>
    </dsp:sp>
    <dsp:sp modelId="{C0E73059-3CA2-47A3-8745-6B7FD54D40AA}">
      <dsp:nvSpPr>
        <dsp:cNvPr id="0" name=""/>
        <dsp:cNvSpPr/>
      </dsp:nvSpPr>
      <dsp:spPr>
        <a:xfrm>
          <a:off x="30859" y="1249811"/>
          <a:ext cx="462893" cy="46289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206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BE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D9D0C7-94D0-4550-BE79-1835583D428F}" type="datetimeFigureOut">
              <a:rPr lang="fr-BE" smtClean="0"/>
              <a:t>29/01/2018</a:t>
            </a:fld>
            <a:endParaRPr lang="fr-BE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377363"/>
            <a:ext cx="2946400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BE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49688" y="9377363"/>
            <a:ext cx="2946400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9ADBA20-00F4-45C8-9BE0-D0943B0B6DE6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86812706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.xml"/><Relationship Id="rId9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81" descr="C:\Users\Sophie Rizzo\Desktop\Saint Luc\Logos\feuille entière.png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8"/>
          <a:srcRect t="28140" r="6647"/>
          <a:stretch>
            <a:fillRect/>
          </a:stretch>
        </p:blipFill>
        <p:spPr bwMode="auto">
          <a:xfrm>
            <a:off x="-222250" y="0"/>
            <a:ext cx="9378950" cy="7218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4" descr="C:\Users\Sophie Rizzo\Desktop\Saint Luc\Logos\logo + feuille blanche.png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9"/>
          <a:srcRect/>
          <a:stretch>
            <a:fillRect/>
          </a:stretch>
        </p:blipFill>
        <p:spPr bwMode="auto">
          <a:xfrm>
            <a:off x="6307138" y="4106863"/>
            <a:ext cx="2849562" cy="2652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331640" y="1700808"/>
            <a:ext cx="6696744" cy="61555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algn="l">
              <a:defRPr sz="4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smtClean="0"/>
              <a:t>Cliquez pour modifier le style du titre</a:t>
            </a:r>
            <a:endParaRPr lang="fr-BE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31640" y="5667378"/>
            <a:ext cx="2912368" cy="307777"/>
          </a:xfrm>
        </p:spPr>
        <p:txBody>
          <a:bodyPr rtlCol="0" anchor="ctr"/>
          <a:lstStyle>
            <a:lvl1pPr marL="0" indent="0">
              <a:defRPr lang="fr-BE" sz="2000" b="0" dirty="0">
                <a:solidFill>
                  <a:srgbClr val="575656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fr-FR" smtClean="0"/>
              <a:t>Cliquez pour modifier le style des sous-titres du masque</a:t>
            </a:r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7099068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Pag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6"/>
          <p:cNvGrpSpPr>
            <a:grpSpLocks/>
          </p:cNvGrpSpPr>
          <p:nvPr/>
        </p:nvGrpSpPr>
        <p:grpSpPr bwMode="auto">
          <a:xfrm>
            <a:off x="0" y="250825"/>
            <a:ext cx="9134475" cy="6692900"/>
            <a:chOff x="0" y="250825"/>
            <a:chExt cx="9134475" cy="6692900"/>
          </a:xfrm>
        </p:grpSpPr>
        <p:grpSp>
          <p:nvGrpSpPr>
            <p:cNvPr id="5" name="Group 4"/>
            <p:cNvGrpSpPr>
              <a:grpSpLocks/>
            </p:cNvGrpSpPr>
            <p:nvPr/>
          </p:nvGrpSpPr>
          <p:grpSpPr bwMode="auto">
            <a:xfrm>
              <a:off x="2232659" y="6631940"/>
              <a:ext cx="6257291" cy="0"/>
              <a:chOff x="2232659" y="6631940"/>
              <a:chExt cx="6257291" cy="0"/>
            </a:xfrm>
          </p:grpSpPr>
          <p:cxnSp>
            <p:nvCxnSpPr>
              <p:cNvPr id="8" name="Straight Connector 45"/>
              <p:cNvCxnSpPr/>
              <p:nvPr/>
            </p:nvCxnSpPr>
            <p:spPr>
              <a:xfrm>
                <a:off x="2232025" y="6632575"/>
                <a:ext cx="568325" cy="0"/>
              </a:xfrm>
              <a:prstGeom prst="line">
                <a:avLst/>
              </a:prstGeom>
              <a:ln w="9525">
                <a:solidFill>
                  <a:srgbClr val="47074A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46"/>
              <p:cNvCxnSpPr/>
              <p:nvPr/>
            </p:nvCxnSpPr>
            <p:spPr>
              <a:xfrm>
                <a:off x="2800350" y="6632575"/>
                <a:ext cx="569913" cy="0"/>
              </a:xfrm>
              <a:prstGeom prst="line">
                <a:avLst/>
              </a:prstGeom>
              <a:ln w="9525">
                <a:solidFill>
                  <a:srgbClr val="94198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47"/>
              <p:cNvCxnSpPr/>
              <p:nvPr/>
            </p:nvCxnSpPr>
            <p:spPr>
              <a:xfrm>
                <a:off x="3370263" y="6632575"/>
                <a:ext cx="568325" cy="0"/>
              </a:xfrm>
              <a:prstGeom prst="line">
                <a:avLst/>
              </a:prstGeom>
              <a:ln w="9525">
                <a:solidFill>
                  <a:srgbClr val="DE007D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48"/>
              <p:cNvCxnSpPr/>
              <p:nvPr/>
            </p:nvCxnSpPr>
            <p:spPr>
              <a:xfrm>
                <a:off x="3938588" y="6632575"/>
                <a:ext cx="568325" cy="0"/>
              </a:xfrm>
              <a:prstGeom prst="line">
                <a:avLst/>
              </a:prstGeom>
              <a:ln w="9525">
                <a:solidFill>
                  <a:srgbClr val="EDBCD8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49"/>
              <p:cNvCxnSpPr/>
              <p:nvPr/>
            </p:nvCxnSpPr>
            <p:spPr>
              <a:xfrm>
                <a:off x="4506913" y="6632575"/>
                <a:ext cx="569912" cy="0"/>
              </a:xfrm>
              <a:prstGeom prst="line">
                <a:avLst/>
              </a:prstGeom>
              <a:ln w="9525">
                <a:solidFill>
                  <a:srgbClr val="FBB9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50"/>
              <p:cNvCxnSpPr/>
              <p:nvPr/>
            </p:nvCxnSpPr>
            <p:spPr>
              <a:xfrm>
                <a:off x="5076825" y="6632575"/>
                <a:ext cx="568325" cy="0"/>
              </a:xfrm>
              <a:prstGeom prst="line">
                <a:avLst/>
              </a:prstGeom>
              <a:ln w="9525">
                <a:solidFill>
                  <a:srgbClr val="EF7C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51"/>
              <p:cNvCxnSpPr/>
              <p:nvPr/>
            </p:nvCxnSpPr>
            <p:spPr>
              <a:xfrm>
                <a:off x="5645150" y="6632575"/>
                <a:ext cx="569913" cy="0"/>
              </a:xfrm>
              <a:prstGeom prst="line">
                <a:avLst/>
              </a:prstGeom>
              <a:ln w="9525">
                <a:solidFill>
                  <a:srgbClr val="E3000F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52"/>
              <p:cNvCxnSpPr/>
              <p:nvPr/>
            </p:nvCxnSpPr>
            <p:spPr>
              <a:xfrm>
                <a:off x="6215063" y="6632575"/>
                <a:ext cx="568325" cy="0"/>
              </a:xfrm>
              <a:prstGeom prst="line">
                <a:avLst/>
              </a:prstGeom>
              <a:ln w="9525">
                <a:solidFill>
                  <a:srgbClr val="0AA537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53"/>
              <p:cNvCxnSpPr/>
              <p:nvPr/>
            </p:nvCxnSpPr>
            <p:spPr>
              <a:xfrm>
                <a:off x="6783388" y="6632575"/>
                <a:ext cx="568325" cy="0"/>
              </a:xfrm>
              <a:prstGeom prst="line">
                <a:avLst/>
              </a:prstGeom>
              <a:ln w="9525">
                <a:solidFill>
                  <a:srgbClr val="94C11C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54"/>
              <p:cNvCxnSpPr/>
              <p:nvPr/>
            </p:nvCxnSpPr>
            <p:spPr>
              <a:xfrm>
                <a:off x="7351713" y="6632575"/>
                <a:ext cx="569912" cy="0"/>
              </a:xfrm>
              <a:prstGeom prst="line">
                <a:avLst/>
              </a:prstGeom>
              <a:ln w="9525">
                <a:solidFill>
                  <a:srgbClr val="DCE169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55"/>
              <p:cNvCxnSpPr/>
              <p:nvPr/>
            </p:nvCxnSpPr>
            <p:spPr>
              <a:xfrm>
                <a:off x="7921625" y="6632575"/>
                <a:ext cx="568325" cy="0"/>
              </a:xfrm>
              <a:prstGeom prst="line">
                <a:avLst/>
              </a:prstGeom>
              <a:ln w="9525">
                <a:solidFill>
                  <a:srgbClr val="005CA9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6" name="Picture 2" descr="C:\Users\Sophie Rizzo\Desktop\Saint Luc\Logos\feuille entière.png"/>
            <p:cNvPicPr>
              <a:picLocks noChangeAspect="1" noChangeArrowheads="1"/>
            </p:cNvPicPr>
            <p:nvPr/>
          </p:nvPicPr>
          <p:blipFill>
            <a:blip r:embed="rId2"/>
            <a:srcRect l="67522" t="2" b="37898"/>
            <a:stretch>
              <a:fillRect/>
            </a:stretch>
          </p:blipFill>
          <p:spPr bwMode="auto">
            <a:xfrm>
              <a:off x="0" y="250825"/>
              <a:ext cx="3500438" cy="66929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" name="Picture 2" descr="C:\Users\Sophie Rizzo\Desktop\Saint Luc\Logos\feuille entière.png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8466138" y="6200775"/>
              <a:ext cx="668337" cy="668338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</p:pic>
      </p:grp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347864" y="914400"/>
            <a:ext cx="5338936" cy="1785104"/>
          </a:xfrm>
        </p:spPr>
        <p:txBody>
          <a:bodyPr/>
          <a:lstStyle>
            <a:lvl1pPr>
              <a:defRPr>
                <a:solidFill>
                  <a:srgbClr val="575656"/>
                </a:solidFill>
              </a:defRPr>
            </a:lvl1pPr>
            <a:lvl2pPr>
              <a:defRPr>
                <a:solidFill>
                  <a:srgbClr val="575656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575656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575656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575656"/>
                </a:solidFill>
              </a:defRPr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 dirty="0"/>
          </a:p>
        </p:txBody>
      </p:sp>
      <p:sp>
        <p:nvSpPr>
          <p:cNvPr id="19" name="Espace réservé du numéro de diapositive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E98F54-9420-4909-AC22-B52239C56BEB}" type="slidenum">
              <a:rPr lang="fr-BE"/>
              <a:pPr>
                <a:defRPr/>
              </a:pPr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4009206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de 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2" y="107340"/>
            <a:ext cx="7643688" cy="3693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</p:nvPr>
        </p:nvSpPr>
        <p:spPr>
          <a:xfrm>
            <a:off x="179388" y="857250"/>
            <a:ext cx="8856538" cy="1428083"/>
          </a:xfrm>
          <a:prstGeom prst="rect">
            <a:avLst/>
          </a:prstGeom>
        </p:spPr>
        <p:txBody>
          <a:bodyPr rtlCol="0"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1600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 dirty="0"/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023587-1241-4C30-8F04-DE527417392D}" type="slidenum">
              <a:rPr lang="fr-BE"/>
              <a:pPr>
                <a:defRPr/>
              </a:pPr>
              <a:t>‹N°›</a:t>
            </a:fld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6237985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20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11" Type="http://schemas.openxmlformats.org/officeDocument/2006/relationships/tags" Target="../tags/tag6.xml"/><Relationship Id="rId5" Type="http://schemas.openxmlformats.org/officeDocument/2006/relationships/vmlDrawing" Target="../drawings/vmlDrawing1.vml"/><Relationship Id="rId15" Type="http://schemas.openxmlformats.org/officeDocument/2006/relationships/oleObject" Target="../embeddings/oleObject1.bin"/><Relationship Id="rId10" Type="http://schemas.openxmlformats.org/officeDocument/2006/relationships/tags" Target="../tags/tag5.xml"/><Relationship Id="rId19" Type="http://schemas.openxmlformats.org/officeDocument/2006/relationships/image" Target="../media/image4.png"/><Relationship Id="rId4" Type="http://schemas.openxmlformats.org/officeDocument/2006/relationships/theme" Target="../theme/theme1.xml"/><Relationship Id="rId9" Type="http://schemas.openxmlformats.org/officeDocument/2006/relationships/tags" Target="../tags/tag4.xml"/><Relationship Id="rId14" Type="http://schemas.openxmlformats.org/officeDocument/2006/relationships/tags" Target="../tags/tag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24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2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28" name="Group 7"/>
          <p:cNvGrpSpPr>
            <a:grpSpLocks/>
          </p:cNvGrpSpPr>
          <p:nvPr/>
        </p:nvGrpSpPr>
        <p:grpSpPr bwMode="auto">
          <a:xfrm>
            <a:off x="-204832" y="0"/>
            <a:ext cx="9366250" cy="7218363"/>
            <a:chOff x="-221742" y="-1"/>
            <a:chExt cx="9365742" cy="7219043"/>
          </a:xfrm>
        </p:grpSpPr>
        <p:pic>
          <p:nvPicPr>
            <p:cNvPr id="1033" name="Picture 79" descr="C:\Users\Sophie Rizzo\Desktop\Saint Luc\Logos\feuille entière 5%.png"/>
            <p:cNvPicPr>
              <a:picLocks noChangeArrowheads="1"/>
            </p:cNvPicPr>
            <p:nvPr>
              <p:custDataLst>
                <p:tags r:id="rId11"/>
              </p:custDataLst>
            </p:nvPr>
          </p:nvPicPr>
          <p:blipFill>
            <a:blip r:embed="rId17"/>
            <a:srcRect t="28140" r="6772"/>
            <a:stretch>
              <a:fillRect/>
            </a:stretch>
          </p:blipFill>
          <p:spPr bwMode="auto">
            <a:xfrm>
              <a:off x="-221742" y="-1"/>
              <a:ext cx="9365742" cy="72190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34" name="Picture 56" descr="C:\Users\Sophie Rizzo\Desktop\Saint Luc\Logos\Feuille extract.png"/>
            <p:cNvPicPr>
              <a:picLocks noChangeAspect="1" noChangeArrowheads="1"/>
            </p:cNvPicPr>
            <p:nvPr>
              <p:custDataLst>
                <p:tags r:id="rId12"/>
              </p:custDataLst>
            </p:nvPr>
          </p:nvPicPr>
          <p:blipFill>
            <a:blip r:embed="rId18"/>
            <a:srcRect l="10428"/>
            <a:stretch>
              <a:fillRect/>
            </a:stretch>
          </p:blipFill>
          <p:spPr bwMode="auto">
            <a:xfrm>
              <a:off x="-1" y="5749133"/>
              <a:ext cx="981867" cy="10961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" name="Picture 2" descr="C:\Users\Sophie Rizzo\Desktop\Saint Luc\Logos\feuille entière.png"/>
            <p:cNvPicPr>
              <a:picLocks noChangeAspect="1" noChangeArrowheads="1"/>
            </p:cNvPicPr>
            <p:nvPr>
              <p:custDataLst>
                <p:tags r:id="rId13"/>
              </p:custDataLst>
            </p:nvPr>
          </p:nvPicPr>
          <p:blipFill>
            <a:blip r:embed="rId19"/>
            <a:srcRect/>
            <a:stretch>
              <a:fillRect/>
            </a:stretch>
          </p:blipFill>
          <p:spPr bwMode="auto">
            <a:xfrm>
              <a:off x="8464587" y="6201358"/>
              <a:ext cx="669889" cy="66840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</p:pic>
        <p:grpSp>
          <p:nvGrpSpPr>
            <p:cNvPr id="1036" name="Group 3"/>
            <p:cNvGrpSpPr>
              <a:grpSpLocks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50080" y="6631938"/>
              <a:ext cx="7851775" cy="85567"/>
              <a:chOff x="598489" y="6631940"/>
              <a:chExt cx="7891462" cy="0"/>
            </a:xfrm>
          </p:grpSpPr>
          <p:cxnSp>
            <p:nvCxnSpPr>
              <p:cNvPr id="22" name="Straight Connector 21"/>
              <p:cNvCxnSpPr/>
              <p:nvPr/>
            </p:nvCxnSpPr>
            <p:spPr>
              <a:xfrm>
                <a:off x="598156" y="6631614"/>
                <a:ext cx="717947" cy="0"/>
              </a:xfrm>
              <a:prstGeom prst="line">
                <a:avLst/>
              </a:prstGeom>
              <a:ln w="9525">
                <a:solidFill>
                  <a:srgbClr val="47074A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/>
              <p:cNvCxnSpPr/>
              <p:nvPr/>
            </p:nvCxnSpPr>
            <p:spPr>
              <a:xfrm>
                <a:off x="1316103" y="6631614"/>
                <a:ext cx="716351" cy="0"/>
              </a:xfrm>
              <a:prstGeom prst="line">
                <a:avLst/>
              </a:prstGeom>
              <a:ln w="9525">
                <a:solidFill>
                  <a:srgbClr val="94198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/>
              <p:cNvCxnSpPr/>
              <p:nvPr/>
            </p:nvCxnSpPr>
            <p:spPr>
              <a:xfrm>
                <a:off x="2032454" y="6631614"/>
                <a:ext cx="717947" cy="0"/>
              </a:xfrm>
              <a:prstGeom prst="line">
                <a:avLst/>
              </a:prstGeom>
              <a:ln w="9525">
                <a:solidFill>
                  <a:srgbClr val="DE007D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/>
              <p:cNvCxnSpPr/>
              <p:nvPr/>
            </p:nvCxnSpPr>
            <p:spPr>
              <a:xfrm>
                <a:off x="2750401" y="6631614"/>
                <a:ext cx="717947" cy="0"/>
              </a:xfrm>
              <a:prstGeom prst="line">
                <a:avLst/>
              </a:prstGeom>
              <a:ln w="9525">
                <a:solidFill>
                  <a:srgbClr val="EDBCD8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/>
              <p:cNvCxnSpPr/>
              <p:nvPr/>
            </p:nvCxnSpPr>
            <p:spPr>
              <a:xfrm>
                <a:off x="3468348" y="6631614"/>
                <a:ext cx="716352" cy="0"/>
              </a:xfrm>
              <a:prstGeom prst="line">
                <a:avLst/>
              </a:prstGeom>
              <a:ln w="9525">
                <a:solidFill>
                  <a:srgbClr val="FBB9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/>
              <p:cNvCxnSpPr/>
              <p:nvPr/>
            </p:nvCxnSpPr>
            <p:spPr>
              <a:xfrm>
                <a:off x="4184700" y="6631614"/>
                <a:ext cx="717947" cy="0"/>
              </a:xfrm>
              <a:prstGeom prst="line">
                <a:avLst/>
              </a:prstGeom>
              <a:ln w="9525">
                <a:solidFill>
                  <a:srgbClr val="EF7C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/>
              <p:cNvCxnSpPr/>
              <p:nvPr/>
            </p:nvCxnSpPr>
            <p:spPr>
              <a:xfrm>
                <a:off x="4902647" y="6631614"/>
                <a:ext cx="716351" cy="0"/>
              </a:xfrm>
              <a:prstGeom prst="line">
                <a:avLst/>
              </a:prstGeom>
              <a:ln w="9525">
                <a:solidFill>
                  <a:srgbClr val="E3000F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/>
              <p:cNvCxnSpPr/>
              <p:nvPr/>
            </p:nvCxnSpPr>
            <p:spPr>
              <a:xfrm>
                <a:off x="5618998" y="6631614"/>
                <a:ext cx="717947" cy="0"/>
              </a:xfrm>
              <a:prstGeom prst="line">
                <a:avLst/>
              </a:prstGeom>
              <a:ln w="9525">
                <a:solidFill>
                  <a:srgbClr val="0AA537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/>
              <p:cNvCxnSpPr/>
              <p:nvPr/>
            </p:nvCxnSpPr>
            <p:spPr>
              <a:xfrm>
                <a:off x="6336945" y="6631614"/>
                <a:ext cx="717947" cy="0"/>
              </a:xfrm>
              <a:prstGeom prst="line">
                <a:avLst/>
              </a:prstGeom>
              <a:ln w="9525">
                <a:solidFill>
                  <a:srgbClr val="94C11C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/>
              <p:cNvCxnSpPr/>
              <p:nvPr/>
            </p:nvCxnSpPr>
            <p:spPr>
              <a:xfrm>
                <a:off x="7054891" y="6631614"/>
                <a:ext cx="716352" cy="0"/>
              </a:xfrm>
              <a:prstGeom prst="line">
                <a:avLst/>
              </a:prstGeom>
              <a:ln w="9525">
                <a:solidFill>
                  <a:srgbClr val="DCE169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/>
              <p:cNvCxnSpPr/>
              <p:nvPr/>
            </p:nvCxnSpPr>
            <p:spPr>
              <a:xfrm>
                <a:off x="7771243" y="6631614"/>
                <a:ext cx="717947" cy="0"/>
              </a:xfrm>
              <a:prstGeom prst="line">
                <a:avLst/>
              </a:prstGeom>
              <a:ln w="9525">
                <a:solidFill>
                  <a:srgbClr val="005CA9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029" name="Espace réservé du titre 1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 bwMode="auto">
          <a:xfrm>
            <a:off x="179388" y="107950"/>
            <a:ext cx="8856662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BE" smtClean="0"/>
              <a:t>Modifiez le style du titre</a:t>
            </a:r>
          </a:p>
        </p:txBody>
      </p:sp>
      <p:sp>
        <p:nvSpPr>
          <p:cNvPr id="1030" name="Espace réservé du texte 2"/>
          <p:cNvSpPr>
            <a:spLocks noGrp="1"/>
          </p:cNvSpPr>
          <p:nvPr>
            <p:ph type="body" idx="1"/>
            <p:custDataLst>
              <p:tags r:id="rId8"/>
            </p:custDataLst>
          </p:nvPr>
        </p:nvSpPr>
        <p:spPr bwMode="auto">
          <a:xfrm>
            <a:off x="179388" y="857250"/>
            <a:ext cx="8856662" cy="1428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BE" smtClean="0"/>
              <a:t>Modifiez les styles du texte du masque</a:t>
            </a:r>
          </a:p>
          <a:p>
            <a:pPr lvl="1"/>
            <a:r>
              <a:rPr lang="fr-BE" smtClean="0"/>
              <a:t>Deuxième niveau</a:t>
            </a:r>
          </a:p>
          <a:p>
            <a:pPr lvl="2"/>
            <a:r>
              <a:rPr lang="fr-BE" smtClean="0"/>
              <a:t>Troisième niveau</a:t>
            </a:r>
          </a:p>
          <a:p>
            <a:pPr lvl="3"/>
            <a:r>
              <a:rPr lang="fr-BE" smtClean="0"/>
              <a:t>Quatrième niveau</a:t>
            </a:r>
          </a:p>
          <a:p>
            <a:pPr lvl="4"/>
            <a:r>
              <a:rPr lang="fr-BE" smtClean="0"/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  <p:custDataLst>
              <p:tags r:id="rId9"/>
            </p:custDataLst>
          </p:nvPr>
        </p:nvSpPr>
        <p:spPr>
          <a:xfrm>
            <a:off x="8532813" y="6462713"/>
            <a:ext cx="503237" cy="18415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rgbClr val="575656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24B1DEC-761F-4490-8109-6788A699E875}" type="slidenum">
              <a:rPr lang="fr-BE"/>
              <a:pPr>
                <a:defRPr/>
              </a:pPr>
              <a:t>‹N°›</a:t>
            </a:fld>
            <a:endParaRPr lang="fr-BE" dirty="0"/>
          </a:p>
        </p:txBody>
      </p:sp>
      <p:sp>
        <p:nvSpPr>
          <p:cNvPr id="34" name="Espace réservé du texte 2"/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179388" y="6670675"/>
            <a:ext cx="8856662" cy="153988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r>
              <a:rPr lang="fr-BE" sz="1000" dirty="0">
                <a:latin typeface="Calibri" pitchFamily="34" charset="0"/>
              </a:rPr>
              <a:t>Cliniques universitaires Saint-Luc – </a:t>
            </a:r>
            <a:r>
              <a:rPr lang="fr-BE" sz="1000" dirty="0" smtClean="0">
                <a:latin typeface="Calibri" pitchFamily="34" charset="0"/>
              </a:rPr>
              <a:t>MOLLERS GERY – Conseiller en Sécurité du</a:t>
            </a:r>
            <a:r>
              <a:rPr lang="fr-BE" sz="1000" baseline="0" dirty="0" smtClean="0">
                <a:latin typeface="Calibri" pitchFamily="34" charset="0"/>
              </a:rPr>
              <a:t>  Système d’Informations</a:t>
            </a:r>
            <a:endParaRPr lang="fr-BE" sz="1000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3438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9pPr>
    </p:titleStyle>
    <p:bodyStyle>
      <a:lvl1pPr algn="l" rtl="0" eaLnBrk="1" fontAlgn="base" hangingPunct="1">
        <a:spcBef>
          <a:spcPct val="20000"/>
        </a:spcBef>
        <a:spcAft>
          <a:spcPct val="0"/>
        </a:spcAft>
        <a:buFont typeface="Arial" charset="0"/>
        <a:defRPr sz="1600" kern="1200">
          <a:solidFill>
            <a:srgbClr val="005CA9"/>
          </a:solidFill>
          <a:latin typeface="+mn-lt"/>
          <a:ea typeface="+mn-ea"/>
          <a:cs typeface="+mn-cs"/>
        </a:defRPr>
      </a:lvl1pPr>
      <a:lvl2pPr marL="285750" indent="-285750" algn="l" rtl="0" eaLnBrk="1" fontAlgn="base" hangingPunct="1">
        <a:spcBef>
          <a:spcPct val="20000"/>
        </a:spcBef>
        <a:spcAft>
          <a:spcPct val="0"/>
        </a:spcAft>
        <a:buBlip>
          <a:blip r:embed="rId20"/>
        </a:buBlip>
        <a:defRPr sz="1600" kern="1200">
          <a:solidFill>
            <a:srgbClr val="005CA9"/>
          </a:solidFill>
          <a:latin typeface="+mn-lt"/>
          <a:ea typeface="+mn-ea"/>
          <a:cs typeface="+mn-cs"/>
        </a:defRPr>
      </a:lvl2pPr>
      <a:lvl3pPr marL="561975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Blip>
          <a:blip r:embed="rId19"/>
        </a:buBlip>
        <a:defRPr sz="1600" kern="1200">
          <a:solidFill>
            <a:srgbClr val="005CA9"/>
          </a:solidFill>
          <a:latin typeface="+mn-lt"/>
          <a:ea typeface="+mn-ea"/>
          <a:cs typeface="+mn-cs"/>
        </a:defRPr>
      </a:lvl3pPr>
      <a:lvl4pPr marL="8382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100000"/>
        <a:buFont typeface="Arial" charset="0"/>
        <a:buChar char="‒"/>
        <a:defRPr sz="1600" kern="1200">
          <a:solidFill>
            <a:srgbClr val="005CA9"/>
          </a:solidFill>
          <a:latin typeface="+mn-lt"/>
          <a:ea typeface="+mn-ea"/>
          <a:cs typeface="+mn-cs"/>
        </a:defRPr>
      </a:lvl4pPr>
      <a:lvl5pPr marL="1114425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100000"/>
        <a:buFont typeface="Wingdings" pitchFamily="2" charset="2"/>
        <a:buChar char="§"/>
        <a:defRPr sz="1600" kern="1200">
          <a:solidFill>
            <a:srgbClr val="005CA9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13" Type="http://schemas.openxmlformats.org/officeDocument/2006/relationships/diagramLayout" Target="../diagrams/layout3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12" Type="http://schemas.openxmlformats.org/officeDocument/2006/relationships/diagramData" Target="../diagrams/data3.xml"/><Relationship Id="rId2" Type="http://schemas.openxmlformats.org/officeDocument/2006/relationships/diagramData" Target="../diagrams/data1.xml"/><Relationship Id="rId16" Type="http://schemas.microsoft.com/office/2007/relationships/diagramDrawing" Target="../diagrams/drawing3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5" Type="http://schemas.openxmlformats.org/officeDocument/2006/relationships/diagramColors" Target="../diagrams/colors3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Relationship Id="rId14" Type="http://schemas.openxmlformats.org/officeDocument/2006/relationships/diagramQuickStyle" Target="../diagrams/quickStyle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5.xml"/><Relationship Id="rId3" Type="http://schemas.openxmlformats.org/officeDocument/2006/relationships/diagramLayout" Target="../diagrams/layout4.xml"/><Relationship Id="rId7" Type="http://schemas.openxmlformats.org/officeDocument/2006/relationships/diagramData" Target="../diagrams/data5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4.xml"/><Relationship Id="rId11" Type="http://schemas.microsoft.com/office/2007/relationships/diagramDrawing" Target="../diagrams/drawing5.xml"/><Relationship Id="rId5" Type="http://schemas.openxmlformats.org/officeDocument/2006/relationships/diagramColors" Target="../diagrams/colors4.xml"/><Relationship Id="rId10" Type="http://schemas.openxmlformats.org/officeDocument/2006/relationships/diagramColors" Target="../diagrams/colors5.xml"/><Relationship Id="rId4" Type="http://schemas.openxmlformats.org/officeDocument/2006/relationships/diagramQuickStyle" Target="../diagrams/quickStyle4.xml"/><Relationship Id="rId9" Type="http://schemas.openxmlformats.org/officeDocument/2006/relationships/diagramQuickStyle" Target="../diagrams/quickStyle5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7.xml"/><Relationship Id="rId13" Type="http://schemas.openxmlformats.org/officeDocument/2006/relationships/diagramLayout" Target="../diagrams/layout8.xml"/><Relationship Id="rId3" Type="http://schemas.openxmlformats.org/officeDocument/2006/relationships/diagramLayout" Target="../diagrams/layout6.xml"/><Relationship Id="rId7" Type="http://schemas.openxmlformats.org/officeDocument/2006/relationships/diagramData" Target="../diagrams/data7.xml"/><Relationship Id="rId12" Type="http://schemas.openxmlformats.org/officeDocument/2006/relationships/diagramData" Target="../diagrams/data8.xml"/><Relationship Id="rId2" Type="http://schemas.openxmlformats.org/officeDocument/2006/relationships/diagramData" Target="../diagrams/data6.xml"/><Relationship Id="rId16" Type="http://schemas.microsoft.com/office/2007/relationships/diagramDrawing" Target="../diagrams/drawing8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6.xml"/><Relationship Id="rId11" Type="http://schemas.microsoft.com/office/2007/relationships/diagramDrawing" Target="../diagrams/drawing7.xml"/><Relationship Id="rId5" Type="http://schemas.openxmlformats.org/officeDocument/2006/relationships/diagramColors" Target="../diagrams/colors6.xml"/><Relationship Id="rId15" Type="http://schemas.openxmlformats.org/officeDocument/2006/relationships/diagramColors" Target="../diagrams/colors8.xml"/><Relationship Id="rId10" Type="http://schemas.openxmlformats.org/officeDocument/2006/relationships/diagramColors" Target="../diagrams/colors7.xml"/><Relationship Id="rId4" Type="http://schemas.openxmlformats.org/officeDocument/2006/relationships/diagramQuickStyle" Target="../diagrams/quickStyle6.xml"/><Relationship Id="rId9" Type="http://schemas.openxmlformats.org/officeDocument/2006/relationships/diagramQuickStyle" Target="../diagrams/quickStyle7.xml"/><Relationship Id="rId14" Type="http://schemas.openxmlformats.org/officeDocument/2006/relationships/diagramQuickStyle" Target="../diagrams/quickStyle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259632" y="1268760"/>
            <a:ext cx="7200800" cy="2831544"/>
          </a:xfrm>
        </p:spPr>
        <p:txBody>
          <a:bodyPr/>
          <a:lstStyle/>
          <a:p>
            <a:r>
              <a:rPr lang="fr-BE" dirty="0" smtClean="0"/>
              <a:t>General Data Protection</a:t>
            </a:r>
            <a:br>
              <a:rPr lang="fr-BE" dirty="0" smtClean="0"/>
            </a:br>
            <a:r>
              <a:rPr lang="fr-BE" dirty="0" err="1" smtClean="0"/>
              <a:t>Regulation</a:t>
            </a:r>
            <a:r>
              <a:rPr lang="fr-BE" dirty="0" smtClean="0"/>
              <a:t> – GDPR</a:t>
            </a:r>
            <a:br>
              <a:rPr lang="fr-BE" dirty="0" smtClean="0"/>
            </a:br>
            <a:r>
              <a:rPr lang="fr-BE" dirty="0" smtClean="0"/>
              <a:t/>
            </a:r>
            <a:br>
              <a:rPr lang="fr-BE" dirty="0" smtClean="0"/>
            </a:br>
            <a:r>
              <a:rPr lang="fr-BE" sz="3200" dirty="0" smtClean="0"/>
              <a:t>Généralité </a:t>
            </a:r>
            <a:br>
              <a:rPr lang="fr-BE" sz="3200" dirty="0" smtClean="0"/>
            </a:br>
            <a:r>
              <a:rPr lang="fr-BE" sz="3200" dirty="0" smtClean="0"/>
              <a:t>Programme d’implémentation</a:t>
            </a:r>
            <a:endParaRPr lang="fr-BE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BE" dirty="0" smtClean="0"/>
              <a:t>G. MOLLERS - CSSI</a:t>
            </a:r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2826137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GDPR – </a:t>
            </a:r>
            <a:r>
              <a:rPr lang="fr-BE" dirty="0" smtClean="0"/>
              <a:t>Le système d’information peut être complexe</a:t>
            </a:r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E023587-1241-4C30-8F04-DE527417392D}" type="slidenum">
              <a:rPr lang="fr-BE" smtClean="0"/>
              <a:pPr>
                <a:defRPr/>
              </a:pPr>
              <a:t>10</a:t>
            </a:fld>
            <a:endParaRPr lang="fr-BE" dirty="0"/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260466" y="836712"/>
            <a:ext cx="8487998" cy="4185761"/>
          </a:xfrm>
        </p:spPr>
        <p:txBody>
          <a:bodyPr>
            <a:normAutofit fontScale="92500"/>
          </a:bodyPr>
          <a:lstStyle/>
          <a:p>
            <a:r>
              <a:rPr lang="fr-BE" sz="2400" dirty="0" smtClean="0"/>
              <a:t>Une institution, </a:t>
            </a:r>
            <a:r>
              <a:rPr lang="fr-BE" sz="2400" dirty="0"/>
              <a:t>c’est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BE" sz="2000" dirty="0" smtClean="0"/>
              <a:t>gérer </a:t>
            </a:r>
            <a:r>
              <a:rPr lang="fr-BE" sz="2000" dirty="0"/>
              <a:t>des données à caractère personnel </a:t>
            </a:r>
            <a:endParaRPr lang="fr-BE" sz="2000" dirty="0" smtClean="0"/>
          </a:p>
          <a:p>
            <a:pPr marL="628650" lvl="1" indent="-342900">
              <a:buFont typeface="Arial" panose="020B0604020202020204" pitchFamily="34" charset="0"/>
              <a:buChar char="•"/>
            </a:pPr>
            <a:r>
              <a:rPr lang="fr-BE" sz="1800" dirty="0" smtClean="0"/>
              <a:t>Les données </a:t>
            </a:r>
            <a:r>
              <a:rPr lang="fr-BE" sz="1800" dirty="0"/>
              <a:t>de </a:t>
            </a:r>
            <a:r>
              <a:rPr lang="fr-BE" sz="1800" dirty="0" smtClean="0"/>
              <a:t>santé, administratives, financières, sociales des </a:t>
            </a:r>
            <a:r>
              <a:rPr lang="fr-BE" sz="1800" dirty="0" smtClean="0"/>
              <a:t>patients/pensionnaires</a:t>
            </a:r>
            <a:endParaRPr lang="fr-BE" sz="1800" dirty="0" smtClean="0"/>
          </a:p>
          <a:p>
            <a:pPr marL="628650" lvl="1" indent="-342900">
              <a:buFont typeface="Arial" panose="020B0604020202020204" pitchFamily="34" charset="0"/>
              <a:buChar char="•"/>
            </a:pPr>
            <a:r>
              <a:rPr lang="fr-BE" sz="1800" dirty="0"/>
              <a:t>Les données </a:t>
            </a:r>
            <a:r>
              <a:rPr lang="fr-BE" sz="1800" dirty="0" smtClean="0"/>
              <a:t>des travailleurs , des intérimaires et des candidats</a:t>
            </a:r>
          </a:p>
          <a:p>
            <a:pPr marL="628650" lvl="1" indent="-342900">
              <a:buFont typeface="Arial" panose="020B0604020202020204" pitchFamily="34" charset="0"/>
              <a:buChar char="•"/>
            </a:pPr>
            <a:r>
              <a:rPr lang="fr-BE" sz="1800" dirty="0" smtClean="0"/>
              <a:t>Les données de contacts et de partenaires (fournisseurs, sous-traitants, OA,…)</a:t>
            </a:r>
            <a:endParaRPr lang="fr-BE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BE" sz="2000" dirty="0" smtClean="0"/>
              <a:t>Des Processus multiples et un </a:t>
            </a:r>
            <a:r>
              <a:rPr lang="fr-BE" sz="2000" dirty="0"/>
              <a:t>Système d’information complexe</a:t>
            </a:r>
          </a:p>
          <a:p>
            <a:pPr marL="742950" lvl="1" indent="-457200">
              <a:buFont typeface="Arial" panose="020B0604020202020204" pitchFamily="34" charset="0"/>
              <a:buChar char="•"/>
            </a:pPr>
            <a:r>
              <a:rPr lang="fr-BE" dirty="0" smtClean="0"/>
              <a:t>Solutions </a:t>
            </a:r>
            <a:r>
              <a:rPr lang="fr-BE" dirty="0"/>
              <a:t>(</a:t>
            </a:r>
            <a:r>
              <a:rPr lang="fr-BE" dirty="0" smtClean="0"/>
              <a:t>institutionnelle/départementale/locale)  mais </a:t>
            </a:r>
            <a:r>
              <a:rPr lang="fr-BE" dirty="0"/>
              <a:t>aussi </a:t>
            </a:r>
            <a:r>
              <a:rPr lang="fr-BE" dirty="0" smtClean="0"/>
              <a:t>équipements </a:t>
            </a:r>
            <a:r>
              <a:rPr lang="fr-BE" dirty="0" err="1" smtClean="0"/>
              <a:t>medicaux</a:t>
            </a:r>
            <a:r>
              <a:rPr lang="fr-BE" dirty="0" smtClean="0"/>
              <a:t>, </a:t>
            </a:r>
            <a:r>
              <a:rPr lang="fr-BE" dirty="0"/>
              <a:t>fichiers </a:t>
            </a:r>
            <a:r>
              <a:rPr lang="fr-BE" dirty="0" smtClean="0"/>
              <a:t>individuels…</a:t>
            </a:r>
            <a:endParaRPr lang="fr-BE" dirty="0"/>
          </a:p>
          <a:p>
            <a:pPr lvl="1" indent="-457200">
              <a:buFont typeface="Arial" panose="020B0604020202020204" pitchFamily="34" charset="0"/>
              <a:buChar char="•"/>
            </a:pPr>
            <a:r>
              <a:rPr lang="fr-BE" dirty="0" smtClean="0"/>
              <a:t>Données dans </a:t>
            </a:r>
            <a:r>
              <a:rPr lang="fr-BE" dirty="0" smtClean="0"/>
              <a:t>le </a:t>
            </a:r>
            <a:r>
              <a:rPr lang="fr-BE" dirty="0" err="1" smtClean="0"/>
              <a:t>datacenter</a:t>
            </a:r>
            <a:r>
              <a:rPr lang="fr-BE" dirty="0" smtClean="0"/>
              <a:t>, </a:t>
            </a:r>
            <a:r>
              <a:rPr lang="fr-BE" dirty="0" smtClean="0"/>
              <a:t>sur des supports mobiles, dans le cloud  (chez </a:t>
            </a:r>
            <a:r>
              <a:rPr lang="fr-BE" u="sng" dirty="0"/>
              <a:t>nos</a:t>
            </a:r>
            <a:r>
              <a:rPr lang="fr-BE" dirty="0"/>
              <a:t> </a:t>
            </a:r>
            <a:r>
              <a:rPr lang="fr-BE" dirty="0" smtClean="0"/>
              <a:t>fournisseurs</a:t>
            </a:r>
            <a:r>
              <a:rPr lang="fr-BE" dirty="0"/>
              <a:t> </a:t>
            </a:r>
            <a:r>
              <a:rPr lang="fr-BE" dirty="0" smtClean="0"/>
              <a:t>ou dans le cloud public) </a:t>
            </a:r>
          </a:p>
          <a:p>
            <a:pPr marL="742950" lvl="1" indent="-457200">
              <a:buFont typeface="Arial" panose="020B0604020202020204" pitchFamily="34" charset="0"/>
              <a:buChar char="•"/>
            </a:pPr>
            <a:r>
              <a:rPr lang="fr-BE" dirty="0" smtClean="0"/>
              <a:t>Accès </a:t>
            </a:r>
            <a:r>
              <a:rPr lang="fr-BE" dirty="0"/>
              <a:t>sur site et hors </a:t>
            </a:r>
            <a:r>
              <a:rPr lang="fr-BE" dirty="0" smtClean="0"/>
              <a:t>site </a:t>
            </a:r>
            <a:endParaRPr lang="fr-BE" dirty="0"/>
          </a:p>
          <a:p>
            <a:pPr marL="742950" lvl="1" indent="-457200">
              <a:buFont typeface="Arial" panose="020B0604020202020204" pitchFamily="34" charset="0"/>
              <a:buChar char="•"/>
            </a:pPr>
            <a:r>
              <a:rPr lang="fr-BE" dirty="0"/>
              <a:t>Un </a:t>
            </a:r>
            <a:r>
              <a:rPr lang="fr-BE" dirty="0" smtClean="0"/>
              <a:t>Système d’Information interconnecté (avec d’autres hôpitaux, avec des fournisseurs,…)</a:t>
            </a:r>
          </a:p>
          <a:p>
            <a:pPr marL="742950" lvl="1" indent="-457200">
              <a:buFont typeface="Arial" panose="020B0604020202020204" pitchFamily="34" charset="0"/>
              <a:buChar char="•"/>
            </a:pPr>
            <a:r>
              <a:rPr lang="fr-BE" dirty="0" smtClean="0"/>
              <a:t>Un archive long terme des données (Dossier médical = 30 ans fin vie/dernière visite)</a:t>
            </a:r>
            <a:endParaRPr lang="fr-B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BE" sz="2000" dirty="0" smtClean="0"/>
              <a:t>Un « monde </a:t>
            </a:r>
            <a:r>
              <a:rPr lang="fr-BE" sz="2000" dirty="0"/>
              <a:t>à </a:t>
            </a:r>
            <a:r>
              <a:rPr lang="fr-BE" sz="2000" dirty="0" smtClean="0"/>
              <a:t>risque » dont l’institution doit garder la maîtrise</a:t>
            </a:r>
          </a:p>
        </p:txBody>
      </p:sp>
      <p:pic>
        <p:nvPicPr>
          <p:cNvPr id="6" name="Picture 2" descr="Image result for rubik's cub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4960" y="48254"/>
            <a:ext cx="2376264" cy="1480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9492" y="5157192"/>
            <a:ext cx="1168103" cy="1162911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1425886" y="5205446"/>
            <a:ext cx="7475156" cy="830997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lvl="1" algn="ctr"/>
            <a:r>
              <a:rPr lang="fr-BE" sz="1600" i="1" dirty="0" smtClean="0"/>
              <a:t>Une évidence dans ce contexte : </a:t>
            </a:r>
          </a:p>
          <a:p>
            <a:pPr marL="285750" lvl="1" algn="ctr"/>
            <a:r>
              <a:rPr lang="fr-BE" sz="1600" i="1" dirty="0" smtClean="0"/>
              <a:t>«</a:t>
            </a:r>
            <a:r>
              <a:rPr lang="fr-BE" sz="1600" i="1" dirty="0"/>
              <a:t> on ne </a:t>
            </a:r>
            <a:r>
              <a:rPr lang="fr-BE" sz="1600" i="1" dirty="0" smtClean="0"/>
              <a:t>peut maitriser </a:t>
            </a:r>
            <a:r>
              <a:rPr lang="fr-BE" sz="1600" i="1" dirty="0"/>
              <a:t>que les risques </a:t>
            </a:r>
            <a:r>
              <a:rPr lang="fr-BE" sz="1600" i="1" dirty="0" smtClean="0"/>
              <a:t>des </a:t>
            </a:r>
            <a:r>
              <a:rPr lang="fr-BE" sz="1600" i="1" dirty="0"/>
              <a:t>traitements que nous connaissons »</a:t>
            </a:r>
          </a:p>
          <a:p>
            <a:pPr marL="285750" lvl="1" algn="ctr"/>
            <a:r>
              <a:rPr lang="fr-BE" sz="1600" dirty="0"/>
              <a:t>Attention aux initiatives individuelles (</a:t>
            </a:r>
            <a:r>
              <a:rPr lang="fr-BE" sz="1600" dirty="0" err="1"/>
              <a:t>Db</a:t>
            </a:r>
            <a:r>
              <a:rPr lang="fr-BE" sz="1600" dirty="0"/>
              <a:t> locales, applications web, cloud</a:t>
            </a:r>
            <a:r>
              <a:rPr lang="fr-BE" sz="1600" dirty="0" smtClean="0"/>
              <a:t>)</a:t>
            </a:r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1862532758"/>
      </p:ext>
    </p:extLst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1000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  <p:bldP spid="8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512" y="107340"/>
            <a:ext cx="7643688" cy="369332"/>
          </a:xfrm>
        </p:spPr>
        <p:txBody>
          <a:bodyPr/>
          <a:lstStyle/>
          <a:p>
            <a:r>
              <a:rPr lang="fr-BE" dirty="0" err="1"/>
              <a:t>Healhtcare</a:t>
            </a:r>
            <a:r>
              <a:rPr lang="fr-BE" dirty="0"/>
              <a:t> Information System </a:t>
            </a:r>
            <a:r>
              <a:rPr lang="fr-BE" dirty="0" err="1" smtClean="0"/>
              <a:t>Complexity</a:t>
            </a:r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E023587-1241-4C30-8F04-DE527417392D}" type="slidenum">
              <a:rPr lang="fr-BE" smtClean="0"/>
              <a:pPr>
                <a:defRPr/>
              </a:pPr>
              <a:t>11</a:t>
            </a:fld>
            <a:endParaRPr lang="fr-BE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927329"/>
            <a:ext cx="7725119" cy="3992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4" y="548680"/>
            <a:ext cx="1781879" cy="15091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ZoneTexte 6"/>
          <p:cNvSpPr txBox="1"/>
          <p:nvPr/>
        </p:nvSpPr>
        <p:spPr>
          <a:xfrm>
            <a:off x="1160781" y="5007182"/>
            <a:ext cx="7443667" cy="1477328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fr-BE" dirty="0" smtClean="0"/>
              <a:t>IMPORTANCE DE LA CARTOGRAPHIE  des Processus et des solutions/services</a:t>
            </a:r>
          </a:p>
          <a:p>
            <a:r>
              <a:rPr lang="fr-BE" dirty="0" smtClean="0"/>
              <a:t>Catégoriser les données                 &gt; Outils de Détection</a:t>
            </a:r>
          </a:p>
          <a:p>
            <a:r>
              <a:rPr lang="fr-BE" dirty="0" smtClean="0"/>
              <a:t>Connaître / surveiller les usages   &gt; Outils de Traçabilité en </a:t>
            </a:r>
            <a:r>
              <a:rPr lang="fr-BE" dirty="0" err="1" smtClean="0"/>
              <a:t>fct</a:t>
            </a:r>
            <a:r>
              <a:rPr lang="fr-BE" dirty="0" smtClean="0"/>
              <a:t>(catégorie)</a:t>
            </a:r>
          </a:p>
          <a:p>
            <a:r>
              <a:rPr lang="fr-BE" dirty="0" smtClean="0"/>
              <a:t>Assurer de la sécurité par défaut  &gt; Adopter la norme  ISO27000</a:t>
            </a:r>
          </a:p>
          <a:p>
            <a:r>
              <a:rPr lang="fr-BE" dirty="0" smtClean="0"/>
              <a:t>Assurer la sécurité adéquate         &gt; Etude de risque régulièrement évaluée</a:t>
            </a:r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2909421069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63888" y="2276872"/>
            <a:ext cx="4752528" cy="1107996"/>
          </a:xfrm>
        </p:spPr>
        <p:txBody>
          <a:bodyPr/>
          <a:lstStyle/>
          <a:p>
            <a:r>
              <a:rPr lang="fr-BE" sz="3600" dirty="0" err="1"/>
              <a:t>Saint-Luc</a:t>
            </a:r>
            <a:r>
              <a:rPr lang="fr-BE" sz="3600" dirty="0"/>
              <a:t> sera </a:t>
            </a:r>
            <a:br>
              <a:rPr lang="fr-BE" sz="3600" dirty="0"/>
            </a:br>
            <a:r>
              <a:rPr lang="fr-BE" sz="3600" dirty="0"/>
              <a:t>conforme GDPR si …</a:t>
            </a:r>
            <a:endParaRPr lang="fr-BE" sz="32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FE98F54-9420-4909-AC22-B52239C56BEB}" type="slidenum">
              <a:rPr lang="fr-BE" smtClean="0"/>
              <a:pPr>
                <a:defRPr/>
              </a:pPr>
              <a:t>12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4185526140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512" y="107340"/>
            <a:ext cx="6598307" cy="1161420"/>
          </a:xfrm>
        </p:spPr>
        <p:txBody>
          <a:bodyPr>
            <a:noAutofit/>
          </a:bodyPr>
          <a:lstStyle/>
          <a:p>
            <a:r>
              <a:rPr lang="fr-BE" sz="4000" dirty="0" err="1" smtClean="0"/>
              <a:t>Saint-Luc</a:t>
            </a:r>
            <a:r>
              <a:rPr lang="fr-BE" sz="4000" dirty="0" smtClean="0"/>
              <a:t> sera </a:t>
            </a:r>
            <a:br>
              <a:rPr lang="fr-BE" sz="4000" dirty="0" smtClean="0"/>
            </a:br>
            <a:r>
              <a:rPr lang="fr-BE" sz="4000" dirty="0" smtClean="0"/>
              <a:t>conforme GDPR si …</a:t>
            </a:r>
            <a:endParaRPr lang="fr-BE" sz="40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E023587-1241-4C30-8F04-DE527417392D}" type="slidenum">
              <a:rPr lang="fr-BE" smtClean="0"/>
              <a:pPr>
                <a:defRPr/>
              </a:pPr>
              <a:t>13</a:t>
            </a:fld>
            <a:endParaRPr lang="fr-BE" dirty="0"/>
          </a:p>
        </p:txBody>
      </p:sp>
      <p:pic>
        <p:nvPicPr>
          <p:cNvPr id="5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7819" y="133813"/>
            <a:ext cx="2258231" cy="1423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ZoneTexte 7"/>
          <p:cNvSpPr txBox="1"/>
          <p:nvPr/>
        </p:nvSpPr>
        <p:spPr>
          <a:xfrm>
            <a:off x="112490" y="1412776"/>
            <a:ext cx="88519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fr-BE" i="1" dirty="0"/>
              <a:t>Nous maîtrisons l’organisation de la </a:t>
            </a:r>
            <a:r>
              <a:rPr lang="fr-BE" i="1" dirty="0" smtClean="0"/>
              <a:t>protection et de la sécurité </a:t>
            </a:r>
            <a:r>
              <a:rPr lang="fr-BE" i="1" dirty="0"/>
              <a:t>des </a:t>
            </a:r>
            <a:r>
              <a:rPr lang="fr-BE" i="1" dirty="0" smtClean="0"/>
              <a:t>données</a:t>
            </a:r>
          </a:p>
          <a:p>
            <a:pPr lvl="1"/>
            <a:r>
              <a:rPr lang="fr-BE" dirty="0" smtClean="0"/>
              <a:t>=&gt;  </a:t>
            </a:r>
            <a:r>
              <a:rPr lang="fr-BE" b="1" dirty="0"/>
              <a:t>Gouvernance et gestion </a:t>
            </a:r>
            <a:r>
              <a:rPr lang="fr-BE" b="1" dirty="0" smtClean="0"/>
              <a:t>opérationnelle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392869" y="4015921"/>
            <a:ext cx="829124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 startAt="3"/>
            </a:pPr>
            <a:r>
              <a:rPr lang="fr-BE" i="1" dirty="0" smtClean="0"/>
              <a:t>Nous réagissons correctement en cas d’incident (le </a:t>
            </a:r>
            <a:r>
              <a:rPr lang="fr-BE" i="1" dirty="0"/>
              <a:t>risque zéro n’existe pas </a:t>
            </a:r>
            <a:r>
              <a:rPr lang="fr-BE" i="1" dirty="0" smtClean="0"/>
              <a:t>…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BE" dirty="0" smtClean="0"/>
              <a:t>En </a:t>
            </a:r>
            <a:r>
              <a:rPr lang="fr-BE" dirty="0" err="1" smtClean="0"/>
              <a:t>monitorant</a:t>
            </a:r>
            <a:r>
              <a:rPr lang="fr-BE" dirty="0" smtClean="0"/>
              <a:t> nos processus  - recours à un Security </a:t>
            </a:r>
            <a:r>
              <a:rPr lang="fr-BE" dirty="0" err="1" smtClean="0"/>
              <a:t>Operation</a:t>
            </a:r>
            <a:r>
              <a:rPr lang="fr-BE" dirty="0" smtClean="0"/>
              <a:t> Center (SOC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BE" dirty="0" smtClean="0"/>
              <a:t>En activant </a:t>
            </a:r>
            <a:r>
              <a:rPr lang="fr-BE" dirty="0"/>
              <a:t>une </a:t>
            </a:r>
            <a:r>
              <a:rPr lang="fr-BE" b="1" dirty="0"/>
              <a:t>Incident Team </a:t>
            </a:r>
            <a:r>
              <a:rPr lang="fr-BE" dirty="0"/>
              <a:t>à chaque remontée d’incident (déclaration dans les 72h auprès CPVP</a:t>
            </a:r>
            <a:r>
              <a:rPr lang="fr-BE" dirty="0" smtClean="0"/>
              <a:t>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BE" dirty="0" smtClean="0"/>
              <a:t>En faisant la preuve d’une gestion adéquate (en </a:t>
            </a:r>
            <a:r>
              <a:rPr lang="fr-BE" dirty="0" err="1" smtClean="0"/>
              <a:t>fct</a:t>
            </a:r>
            <a:r>
              <a:rPr lang="fr-BE" dirty="0" smtClean="0"/>
              <a:t> des risques identifiés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BE" dirty="0" smtClean="0"/>
              <a:t>En disposant </a:t>
            </a:r>
            <a:r>
              <a:rPr lang="fr-BE" dirty="0"/>
              <a:t>d’une Assurance adaptée aux risques inhérents</a:t>
            </a:r>
          </a:p>
          <a:p>
            <a:endParaRPr lang="fr-BE" dirty="0"/>
          </a:p>
        </p:txBody>
      </p:sp>
      <p:sp>
        <p:nvSpPr>
          <p:cNvPr id="3" name="ZoneTexte 2"/>
          <p:cNvSpPr txBox="1"/>
          <p:nvPr/>
        </p:nvSpPr>
        <p:spPr>
          <a:xfrm>
            <a:off x="112490" y="2059107"/>
            <a:ext cx="827593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 startAt="2"/>
            </a:pPr>
            <a:r>
              <a:rPr lang="fr-BE" i="1" dirty="0"/>
              <a:t>Nous mettons en œuvre </a:t>
            </a:r>
            <a:r>
              <a:rPr lang="fr-BE" i="1" u="sng" dirty="0"/>
              <a:t>au quotidien</a:t>
            </a:r>
            <a:r>
              <a:rPr lang="fr-BE" i="1" dirty="0"/>
              <a:t>  des traitements des données </a:t>
            </a:r>
            <a:r>
              <a:rPr lang="fr-BE" i="1" u="sng" dirty="0"/>
              <a:t>reconnus</a:t>
            </a:r>
            <a:r>
              <a:rPr lang="fr-BE" i="1" dirty="0"/>
              <a:t> par l’institution assurant et garantissant  une approche sécurisée, dans les règles de l’art, et régulièrement auditée</a:t>
            </a:r>
            <a:r>
              <a:rPr lang="fr-BE" i="1" dirty="0" smtClean="0"/>
              <a:t>.</a:t>
            </a:r>
            <a:endParaRPr lang="fr-BE" i="1" dirty="0"/>
          </a:p>
        </p:txBody>
      </p:sp>
      <p:sp>
        <p:nvSpPr>
          <p:cNvPr id="6" name="ZoneTexte 5"/>
          <p:cNvSpPr txBox="1"/>
          <p:nvPr/>
        </p:nvSpPr>
        <p:spPr>
          <a:xfrm>
            <a:off x="382819" y="2982437"/>
            <a:ext cx="786158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/>
            <a:r>
              <a:rPr lang="fr-BE" dirty="0"/>
              <a:t>=&gt; Via une </a:t>
            </a:r>
            <a:r>
              <a:rPr lang="fr-BE" b="1" dirty="0"/>
              <a:t>certification interne des traitements </a:t>
            </a:r>
            <a:r>
              <a:rPr lang="fr-BE" dirty="0"/>
              <a:t>qui alimentent le registre des traitements reconnus (à partir de normes et de modèle PIA : </a:t>
            </a:r>
            <a:r>
              <a:rPr lang="fr-BE" dirty="0" err="1"/>
              <a:t>Privacy</a:t>
            </a:r>
            <a:r>
              <a:rPr lang="fr-BE" dirty="0"/>
              <a:t> Impact </a:t>
            </a:r>
            <a:r>
              <a:rPr lang="fr-BE" dirty="0" err="1"/>
              <a:t>Assessment</a:t>
            </a:r>
            <a:r>
              <a:rPr lang="fr-BE" dirty="0"/>
              <a:t>)</a:t>
            </a:r>
          </a:p>
          <a:p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3814339633"/>
      </p:ext>
    </p:extLst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3" grpId="0"/>
      <p:bldP spid="6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512" y="107340"/>
            <a:ext cx="7643688" cy="738664"/>
          </a:xfrm>
        </p:spPr>
        <p:txBody>
          <a:bodyPr/>
          <a:lstStyle/>
          <a:p>
            <a:r>
              <a:rPr lang="fr-BE" dirty="0" smtClean="0"/>
              <a:t>Evolution de la protection des données : complémentarité des approches « sécurité » et « management » </a:t>
            </a:r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E023587-1241-4C30-8F04-DE527417392D}" type="slidenum">
              <a:rPr lang="fr-BE" smtClean="0"/>
              <a:pPr>
                <a:defRPr/>
              </a:pPr>
              <a:t>14</a:t>
            </a:fld>
            <a:endParaRPr lang="fr-BE" dirty="0"/>
          </a:p>
        </p:txBody>
      </p:sp>
      <p:sp>
        <p:nvSpPr>
          <p:cNvPr id="5" name="Oval 13"/>
          <p:cNvSpPr/>
          <p:nvPr/>
        </p:nvSpPr>
        <p:spPr bwMode="auto">
          <a:xfrm>
            <a:off x="3406577" y="1182418"/>
            <a:ext cx="1741487" cy="1805517"/>
          </a:xfrm>
          <a:prstGeom prst="ellipse">
            <a:avLst/>
          </a:prstGeom>
          <a:solidFill>
            <a:srgbClr val="6C9E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anchor="ctr"/>
          <a:lstStyle/>
          <a:p>
            <a:pPr algn="ctr">
              <a:defRPr/>
            </a:pPr>
            <a:r>
              <a:rPr lang="fr-FR" b="1" dirty="0" smtClean="0">
                <a:cs typeface="Verdana"/>
              </a:rPr>
              <a:t>Sécurité</a:t>
            </a:r>
          </a:p>
          <a:p>
            <a:pPr algn="ctr">
              <a:defRPr/>
            </a:pPr>
            <a:r>
              <a:rPr lang="fr-FR" b="1" dirty="0" smtClean="0">
                <a:cs typeface="Verdana"/>
              </a:rPr>
              <a:t>De l’information</a:t>
            </a:r>
          </a:p>
          <a:p>
            <a:pPr algn="ctr">
              <a:defRPr/>
            </a:pPr>
            <a:r>
              <a:rPr lang="fr-FR" b="1" dirty="0" smtClean="0">
                <a:cs typeface="Verdana"/>
              </a:rPr>
              <a:t>« ICT </a:t>
            </a:r>
            <a:r>
              <a:rPr lang="fr-FR" b="1" dirty="0" err="1" smtClean="0">
                <a:cs typeface="Verdana"/>
              </a:rPr>
              <a:t>Approach</a:t>
            </a:r>
            <a:r>
              <a:rPr lang="fr-FR" b="1" dirty="0" smtClean="0">
                <a:cs typeface="Verdana"/>
              </a:rPr>
              <a:t> »</a:t>
            </a:r>
            <a:endParaRPr lang="fr-FR" dirty="0">
              <a:cs typeface="Verdana"/>
            </a:endParaRPr>
          </a:p>
        </p:txBody>
      </p:sp>
      <p:sp>
        <p:nvSpPr>
          <p:cNvPr id="6" name="Oval 2"/>
          <p:cNvSpPr/>
          <p:nvPr/>
        </p:nvSpPr>
        <p:spPr bwMode="auto">
          <a:xfrm>
            <a:off x="486038" y="3774603"/>
            <a:ext cx="1741488" cy="1807633"/>
          </a:xfrm>
          <a:prstGeom prst="ellipse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anchor="ctr"/>
          <a:lstStyle/>
          <a:p>
            <a:pPr algn="ctr">
              <a:defRPr/>
            </a:pPr>
            <a:r>
              <a:rPr lang="fr-FR" b="1" dirty="0" smtClean="0">
                <a:cs typeface="Verdana"/>
              </a:rPr>
              <a:t>Management</a:t>
            </a:r>
          </a:p>
          <a:p>
            <a:pPr algn="ctr">
              <a:defRPr/>
            </a:pPr>
            <a:r>
              <a:rPr lang="fr-FR" b="1" dirty="0" smtClean="0">
                <a:cs typeface="Verdana"/>
              </a:rPr>
              <a:t>Des données</a:t>
            </a:r>
          </a:p>
          <a:p>
            <a:pPr algn="ctr">
              <a:defRPr/>
            </a:pPr>
            <a:r>
              <a:rPr lang="fr-FR" b="1" dirty="0" smtClean="0">
                <a:cs typeface="Verdana"/>
              </a:rPr>
              <a:t>« Business</a:t>
            </a:r>
          </a:p>
          <a:p>
            <a:pPr algn="ctr">
              <a:defRPr/>
            </a:pPr>
            <a:r>
              <a:rPr lang="fr-FR" b="1" dirty="0" err="1" smtClean="0">
                <a:cs typeface="Verdana"/>
              </a:rPr>
              <a:t>Approach</a:t>
            </a:r>
            <a:r>
              <a:rPr lang="fr-FR" b="1" dirty="0" smtClean="0">
                <a:cs typeface="Verdana"/>
              </a:rPr>
              <a:t> »</a:t>
            </a:r>
            <a:endParaRPr lang="fr-FR" dirty="0">
              <a:cs typeface="Verdana"/>
            </a:endParaRPr>
          </a:p>
        </p:txBody>
      </p:sp>
      <p:graphicFrame>
        <p:nvGraphicFramePr>
          <p:cNvPr id="7" name="Diagramme 6"/>
          <p:cNvGraphicFramePr/>
          <p:nvPr>
            <p:extLst>
              <p:ext uri="{D42A27DB-BD31-4B8C-83A1-F6EECF244321}">
                <p14:modId xmlns:p14="http://schemas.microsoft.com/office/powerpoint/2010/main" val="1667815678"/>
              </p:ext>
            </p:extLst>
          </p:nvPr>
        </p:nvGraphicFramePr>
        <p:xfrm>
          <a:off x="1926198" y="3212976"/>
          <a:ext cx="2580012" cy="30847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Rectangle 7"/>
          <p:cNvSpPr/>
          <p:nvPr/>
        </p:nvSpPr>
        <p:spPr bwMode="auto">
          <a:xfrm>
            <a:off x="1238836" y="1311825"/>
            <a:ext cx="1796137" cy="372533"/>
          </a:xfrm>
          <a:prstGeom prst="rect">
            <a:avLst/>
          </a:prstGeom>
          <a:solidFill>
            <a:srgbClr val="6C9E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fr-FR" sz="1200" dirty="0" smtClean="0"/>
              <a:t>Approche ISO 27001</a:t>
            </a:r>
            <a:endParaRPr lang="fr-FR" sz="1100" dirty="0"/>
          </a:p>
        </p:txBody>
      </p:sp>
      <p:sp>
        <p:nvSpPr>
          <p:cNvPr id="9" name="Rectangle 8"/>
          <p:cNvSpPr/>
          <p:nvPr/>
        </p:nvSpPr>
        <p:spPr bwMode="auto">
          <a:xfrm>
            <a:off x="1243640" y="1891791"/>
            <a:ext cx="1836739" cy="372533"/>
          </a:xfrm>
          <a:prstGeom prst="rect">
            <a:avLst/>
          </a:prstGeom>
          <a:solidFill>
            <a:srgbClr val="6C9E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fr-FR" sz="1200" dirty="0" smtClean="0"/>
              <a:t>Access Management</a:t>
            </a:r>
          </a:p>
          <a:p>
            <a:pPr>
              <a:defRPr/>
            </a:pPr>
            <a:r>
              <a:rPr lang="fr-FR" sz="1200" dirty="0" smtClean="0"/>
              <a:t>Physique - Logique</a:t>
            </a:r>
            <a:endParaRPr lang="fr-FR" sz="1050" dirty="0"/>
          </a:p>
        </p:txBody>
      </p:sp>
      <p:sp>
        <p:nvSpPr>
          <p:cNvPr id="10" name="Rectangle 9"/>
          <p:cNvSpPr/>
          <p:nvPr/>
        </p:nvSpPr>
        <p:spPr bwMode="auto">
          <a:xfrm>
            <a:off x="1238837" y="2448984"/>
            <a:ext cx="1796136" cy="475960"/>
          </a:xfrm>
          <a:prstGeom prst="rect">
            <a:avLst/>
          </a:prstGeom>
          <a:solidFill>
            <a:srgbClr val="6C9E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fr-FR" sz="1200" dirty="0"/>
              <a:t>Backup - </a:t>
            </a:r>
            <a:r>
              <a:rPr lang="fr-FR" sz="1200" dirty="0" smtClean="0"/>
              <a:t> redondance Business </a:t>
            </a:r>
            <a:r>
              <a:rPr lang="fr-FR" sz="1200" dirty="0" err="1"/>
              <a:t>Continuity</a:t>
            </a:r>
            <a:r>
              <a:rPr lang="fr-FR" sz="1200" dirty="0"/>
              <a:t> </a:t>
            </a:r>
            <a:r>
              <a:rPr lang="fr-FR" sz="1200" dirty="0" err="1"/>
              <a:t>Plg</a:t>
            </a:r>
            <a:endParaRPr lang="fr-FR" sz="1100" dirty="0"/>
          </a:p>
        </p:txBody>
      </p:sp>
      <p:grpSp>
        <p:nvGrpSpPr>
          <p:cNvPr id="11" name="Groupe 10"/>
          <p:cNvGrpSpPr/>
          <p:nvPr/>
        </p:nvGrpSpPr>
        <p:grpSpPr>
          <a:xfrm rot="10800000">
            <a:off x="2771800" y="757583"/>
            <a:ext cx="2763176" cy="2640947"/>
            <a:chOff x="-2186736" y="1285208"/>
            <a:chExt cx="2874075" cy="2640947"/>
          </a:xfrm>
        </p:grpSpPr>
        <p:sp>
          <p:nvSpPr>
            <p:cNvPr id="12" name="Arc plein 11"/>
            <p:cNvSpPr/>
            <p:nvPr/>
          </p:nvSpPr>
          <p:spPr>
            <a:xfrm>
              <a:off x="-2186736" y="1285208"/>
              <a:ext cx="2640947" cy="2640947"/>
            </a:xfrm>
            <a:prstGeom prst="blockArc">
              <a:avLst>
                <a:gd name="adj1" fmla="val 18900000"/>
                <a:gd name="adj2" fmla="val 2700000"/>
                <a:gd name="adj3" fmla="val 818"/>
              </a:avLst>
            </a:prstGeom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3" name="Ellipse 12"/>
            <p:cNvSpPr/>
            <p:nvPr/>
          </p:nvSpPr>
          <p:spPr>
            <a:xfrm>
              <a:off x="55830" y="1773975"/>
              <a:ext cx="489238" cy="489238"/>
            </a:xfrm>
            <a:prstGeom prst="ellipse">
              <a:avLst/>
            </a:prstGeom>
            <a:ln>
              <a:solidFill>
                <a:schemeClr val="accent4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fr-BE" dirty="0"/>
            </a:p>
          </p:txBody>
        </p:sp>
        <p:sp>
          <p:nvSpPr>
            <p:cNvPr id="14" name="Ellipse 13"/>
            <p:cNvSpPr/>
            <p:nvPr/>
          </p:nvSpPr>
          <p:spPr>
            <a:xfrm>
              <a:off x="198101" y="2361062"/>
              <a:ext cx="489238" cy="489238"/>
            </a:xfrm>
            <a:prstGeom prst="ellipse">
              <a:avLst/>
            </a:prstGeom>
            <a:ln>
              <a:solidFill>
                <a:schemeClr val="accent4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5" name="Ellipse 14"/>
            <p:cNvSpPr/>
            <p:nvPr/>
          </p:nvSpPr>
          <p:spPr>
            <a:xfrm>
              <a:off x="55830" y="2948148"/>
              <a:ext cx="489238" cy="489238"/>
            </a:xfrm>
            <a:prstGeom prst="ellipse">
              <a:avLst/>
            </a:prstGeom>
            <a:ln>
              <a:solidFill>
                <a:schemeClr val="accent4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graphicFrame>
        <p:nvGraphicFramePr>
          <p:cNvPr id="21" name="Diagramme 20"/>
          <p:cNvGraphicFramePr/>
          <p:nvPr>
            <p:extLst>
              <p:ext uri="{D42A27DB-BD31-4B8C-83A1-F6EECF244321}">
                <p14:modId xmlns:p14="http://schemas.microsoft.com/office/powerpoint/2010/main" val="2862319688"/>
              </p:ext>
            </p:extLst>
          </p:nvPr>
        </p:nvGraphicFramePr>
        <p:xfrm>
          <a:off x="4932040" y="3573016"/>
          <a:ext cx="2729675" cy="25367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20" name="Diagramme 19"/>
          <p:cNvGraphicFramePr/>
          <p:nvPr>
            <p:extLst>
              <p:ext uri="{D42A27DB-BD31-4B8C-83A1-F6EECF244321}">
                <p14:modId xmlns:p14="http://schemas.microsoft.com/office/powerpoint/2010/main" val="3060433940"/>
              </p:ext>
            </p:extLst>
          </p:nvPr>
        </p:nvGraphicFramePr>
        <p:xfrm>
          <a:off x="5004048" y="893699"/>
          <a:ext cx="2729675" cy="25367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</p:spTree>
    <p:extLst>
      <p:ext uri="{BB962C8B-B14F-4D97-AF65-F5344CB8AC3E}">
        <p14:creationId xmlns:p14="http://schemas.microsoft.com/office/powerpoint/2010/main" val="2901825914"/>
      </p:ext>
    </p:extLst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Graphic spid="7" grpId="0">
        <p:bldAsOne/>
      </p:bldGraphic>
      <p:bldP spid="8" grpId="0" animBg="1"/>
      <p:bldP spid="9" grpId="0" animBg="1"/>
      <p:bldP spid="10" grpId="0" animBg="1"/>
      <p:bldGraphic spid="21" grpId="0">
        <p:bldAsOne/>
      </p:bldGraphic>
      <p:bldGraphic spid="20" grpId="0">
        <p:bldAsOne/>
      </p:bldGraphic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fr-FR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50800" dist="50800" dir="5400000" algn="ctr" rotWithShape="0">
                    <a:schemeClr val="accent1">
                      <a:lumMod val="60000"/>
                      <a:lumOff val="40000"/>
                    </a:schemeClr>
                  </a:outerShdw>
                </a:effectLst>
              </a:rPr>
              <a:t>Programme Data Protection</a:t>
            </a:r>
            <a:endParaRPr lang="fr-BE" dirty="0">
              <a:solidFill>
                <a:schemeClr val="accent1">
                  <a:lumMod val="75000"/>
                </a:schemeClr>
              </a:solidFill>
              <a:effectLst>
                <a:outerShdw blurRad="50800" dist="50800" dir="5400000" algn="ctr" rotWithShape="0">
                  <a:schemeClr val="accent1">
                    <a:lumMod val="60000"/>
                    <a:lumOff val="40000"/>
                  </a:schemeClr>
                </a:outerShdw>
              </a:effectLst>
            </a:endParaRPr>
          </a:p>
        </p:txBody>
      </p:sp>
      <p:sp>
        <p:nvSpPr>
          <p:cNvPr id="23" name="Oval 13"/>
          <p:cNvSpPr/>
          <p:nvPr/>
        </p:nvSpPr>
        <p:spPr bwMode="auto">
          <a:xfrm>
            <a:off x="2475787" y="1180304"/>
            <a:ext cx="1741487" cy="1805517"/>
          </a:xfrm>
          <a:prstGeom prst="ellipse">
            <a:avLst/>
          </a:prstGeom>
          <a:solidFill>
            <a:srgbClr val="6C9E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anchor="ctr"/>
          <a:lstStyle/>
          <a:p>
            <a:pPr algn="ctr">
              <a:defRPr/>
            </a:pPr>
            <a:r>
              <a:rPr lang="fr-FR" b="1" dirty="0" smtClean="0">
                <a:cs typeface="Verdana"/>
              </a:rPr>
              <a:t>Sensibilisation</a:t>
            </a:r>
          </a:p>
          <a:p>
            <a:pPr algn="ctr">
              <a:defRPr/>
            </a:pPr>
            <a:r>
              <a:rPr lang="fr-FR" b="1" dirty="0" smtClean="0">
                <a:cs typeface="Verdana"/>
              </a:rPr>
              <a:t>Information</a:t>
            </a:r>
            <a:endParaRPr lang="fr-FR" dirty="0">
              <a:cs typeface="Verdana"/>
            </a:endParaRPr>
          </a:p>
        </p:txBody>
      </p:sp>
      <p:sp>
        <p:nvSpPr>
          <p:cNvPr id="24" name="Oval 2"/>
          <p:cNvSpPr/>
          <p:nvPr/>
        </p:nvSpPr>
        <p:spPr bwMode="auto">
          <a:xfrm>
            <a:off x="4409791" y="1180304"/>
            <a:ext cx="1741488" cy="1807633"/>
          </a:xfrm>
          <a:prstGeom prst="ellipse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anchor="ctr"/>
          <a:lstStyle/>
          <a:p>
            <a:pPr algn="ctr">
              <a:defRPr/>
            </a:pPr>
            <a:r>
              <a:rPr lang="fr-FR" b="1" dirty="0" smtClean="0">
                <a:cs typeface="Verdana"/>
              </a:rPr>
              <a:t>Gouvernance</a:t>
            </a:r>
            <a:endParaRPr lang="fr-FR" dirty="0">
              <a:cs typeface="Verdana"/>
            </a:endParaRPr>
          </a:p>
        </p:txBody>
      </p:sp>
      <p:graphicFrame>
        <p:nvGraphicFramePr>
          <p:cNvPr id="25" name="Diagramme 24"/>
          <p:cNvGraphicFramePr/>
          <p:nvPr>
            <p:extLst>
              <p:ext uri="{D42A27DB-BD31-4B8C-83A1-F6EECF244321}">
                <p14:modId xmlns:p14="http://schemas.microsoft.com/office/powerpoint/2010/main" val="1688698106"/>
              </p:ext>
            </p:extLst>
          </p:nvPr>
        </p:nvGraphicFramePr>
        <p:xfrm>
          <a:off x="5940152" y="841263"/>
          <a:ext cx="2710732" cy="24735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7" name="Oval 13"/>
          <p:cNvSpPr/>
          <p:nvPr/>
        </p:nvSpPr>
        <p:spPr bwMode="auto">
          <a:xfrm>
            <a:off x="2449387" y="3961888"/>
            <a:ext cx="1741487" cy="1805517"/>
          </a:xfrm>
          <a:prstGeom prst="ellipse">
            <a:avLst/>
          </a:prstGeom>
          <a:solidFill>
            <a:srgbClr val="6C9E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anchor="ctr"/>
          <a:lstStyle/>
          <a:p>
            <a:pPr algn="ctr">
              <a:defRPr/>
            </a:pPr>
            <a:r>
              <a:rPr lang="fr-FR" b="1" dirty="0" smtClean="0">
                <a:cs typeface="Verdana"/>
              </a:rPr>
              <a:t>Monitoring</a:t>
            </a:r>
          </a:p>
          <a:p>
            <a:pPr algn="ctr">
              <a:defRPr/>
            </a:pPr>
            <a:r>
              <a:rPr lang="fr-FR" b="1" dirty="0" smtClean="0">
                <a:cs typeface="Verdana"/>
              </a:rPr>
              <a:t>Surveillance</a:t>
            </a:r>
          </a:p>
          <a:p>
            <a:pPr algn="ctr">
              <a:defRPr/>
            </a:pPr>
            <a:r>
              <a:rPr lang="fr-FR" b="1" dirty="0" smtClean="0">
                <a:cs typeface="Verdana"/>
              </a:rPr>
              <a:t>(SOC)</a:t>
            </a:r>
            <a:endParaRPr lang="fr-FR" dirty="0">
              <a:cs typeface="Verdana"/>
            </a:endParaRPr>
          </a:p>
        </p:txBody>
      </p:sp>
      <p:sp>
        <p:nvSpPr>
          <p:cNvPr id="28" name="Oval 12"/>
          <p:cNvSpPr/>
          <p:nvPr/>
        </p:nvSpPr>
        <p:spPr bwMode="auto">
          <a:xfrm>
            <a:off x="4499992" y="3910126"/>
            <a:ext cx="1741488" cy="1807633"/>
          </a:xfrm>
          <a:prstGeom prst="ellipse">
            <a:avLst/>
          </a:prstGeom>
          <a:solidFill>
            <a:srgbClr val="00206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anchor="ctr"/>
          <a:lstStyle/>
          <a:p>
            <a:pPr algn="ctr">
              <a:defRPr/>
            </a:pPr>
            <a:r>
              <a:rPr lang="fr-FR" b="1" dirty="0" smtClean="0">
                <a:cs typeface="Verdana"/>
              </a:rPr>
              <a:t>Certification</a:t>
            </a:r>
          </a:p>
          <a:p>
            <a:pPr algn="ctr">
              <a:defRPr/>
            </a:pPr>
            <a:r>
              <a:rPr lang="fr-FR" dirty="0" smtClean="0">
                <a:cs typeface="Verdana"/>
              </a:rPr>
              <a:t>Active</a:t>
            </a:r>
            <a:endParaRPr lang="fr-FR" dirty="0">
              <a:cs typeface="Verdana"/>
            </a:endParaRPr>
          </a:p>
        </p:txBody>
      </p:sp>
      <p:graphicFrame>
        <p:nvGraphicFramePr>
          <p:cNvPr id="29" name="Diagramme 28"/>
          <p:cNvGraphicFramePr/>
          <p:nvPr>
            <p:extLst>
              <p:ext uri="{D42A27DB-BD31-4B8C-83A1-F6EECF244321}">
                <p14:modId xmlns:p14="http://schemas.microsoft.com/office/powerpoint/2010/main" val="2929127245"/>
              </p:ext>
            </p:extLst>
          </p:nvPr>
        </p:nvGraphicFramePr>
        <p:xfrm>
          <a:off x="6258653" y="3886168"/>
          <a:ext cx="2580012" cy="19569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30" name="Rectangle 29"/>
          <p:cNvSpPr/>
          <p:nvPr/>
        </p:nvSpPr>
        <p:spPr bwMode="auto">
          <a:xfrm>
            <a:off x="377343" y="4124937"/>
            <a:ext cx="1676400" cy="372533"/>
          </a:xfrm>
          <a:prstGeom prst="rect">
            <a:avLst/>
          </a:prstGeom>
          <a:solidFill>
            <a:srgbClr val="6C9E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fr-FR" sz="1200" dirty="0"/>
              <a:t>Détection incidents</a:t>
            </a:r>
            <a:endParaRPr lang="fr-FR" sz="1100" dirty="0"/>
          </a:p>
        </p:txBody>
      </p:sp>
      <p:sp>
        <p:nvSpPr>
          <p:cNvPr id="32" name="Rectangle 31"/>
          <p:cNvSpPr/>
          <p:nvPr/>
        </p:nvSpPr>
        <p:spPr bwMode="auto">
          <a:xfrm>
            <a:off x="377343" y="4704903"/>
            <a:ext cx="1653251" cy="372533"/>
          </a:xfrm>
          <a:prstGeom prst="rect">
            <a:avLst/>
          </a:prstGeom>
          <a:solidFill>
            <a:srgbClr val="6C9E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fr-FR" sz="1200" dirty="0" smtClean="0"/>
              <a:t>Réponse </a:t>
            </a:r>
            <a:r>
              <a:rPr lang="fr-FR" sz="1200" dirty="0"/>
              <a:t>incidents </a:t>
            </a:r>
            <a:endParaRPr lang="fr-FR" sz="1050" dirty="0"/>
          </a:p>
        </p:txBody>
      </p:sp>
      <p:sp>
        <p:nvSpPr>
          <p:cNvPr id="34" name="Rectangle 33"/>
          <p:cNvSpPr/>
          <p:nvPr/>
        </p:nvSpPr>
        <p:spPr bwMode="auto">
          <a:xfrm>
            <a:off x="377343" y="5325087"/>
            <a:ext cx="1676400" cy="374649"/>
          </a:xfrm>
          <a:prstGeom prst="rect">
            <a:avLst/>
          </a:prstGeom>
          <a:solidFill>
            <a:srgbClr val="6C9E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fr-FR" sz="1200" dirty="0" smtClean="0"/>
              <a:t>Audits  réguliers</a:t>
            </a:r>
            <a:endParaRPr lang="fr-FR" sz="1100" dirty="0"/>
          </a:p>
        </p:txBody>
      </p:sp>
      <p:sp>
        <p:nvSpPr>
          <p:cNvPr id="44" name="Rectangle 43"/>
          <p:cNvSpPr/>
          <p:nvPr/>
        </p:nvSpPr>
        <p:spPr bwMode="auto">
          <a:xfrm>
            <a:off x="354193" y="1311825"/>
            <a:ext cx="1796137" cy="372533"/>
          </a:xfrm>
          <a:prstGeom prst="rect">
            <a:avLst/>
          </a:prstGeom>
          <a:solidFill>
            <a:srgbClr val="6C9E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fr-FR" sz="1200" dirty="0" smtClean="0"/>
              <a:t>Consentement</a:t>
            </a:r>
            <a:endParaRPr lang="fr-FR" sz="1100" dirty="0"/>
          </a:p>
        </p:txBody>
      </p:sp>
      <p:sp>
        <p:nvSpPr>
          <p:cNvPr id="45" name="Rectangle 44"/>
          <p:cNvSpPr/>
          <p:nvPr/>
        </p:nvSpPr>
        <p:spPr bwMode="auto">
          <a:xfrm>
            <a:off x="354194" y="1891791"/>
            <a:ext cx="1836739" cy="372533"/>
          </a:xfrm>
          <a:prstGeom prst="rect">
            <a:avLst/>
          </a:prstGeom>
          <a:solidFill>
            <a:srgbClr val="6C9E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fr-FR" sz="1200" dirty="0" smtClean="0"/>
              <a:t>Notices d’Information</a:t>
            </a:r>
            <a:endParaRPr lang="fr-FR" sz="1050" dirty="0"/>
          </a:p>
        </p:txBody>
      </p:sp>
      <p:sp>
        <p:nvSpPr>
          <p:cNvPr id="46" name="Rectangle 45"/>
          <p:cNvSpPr/>
          <p:nvPr/>
        </p:nvSpPr>
        <p:spPr bwMode="auto">
          <a:xfrm>
            <a:off x="354194" y="2511975"/>
            <a:ext cx="1796136" cy="374649"/>
          </a:xfrm>
          <a:prstGeom prst="rect">
            <a:avLst/>
          </a:prstGeom>
          <a:solidFill>
            <a:srgbClr val="6C9E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fr-FR" sz="1200" dirty="0" smtClean="0"/>
              <a:t>Campagne Information</a:t>
            </a:r>
            <a:endParaRPr lang="fr-FR" sz="1100" dirty="0"/>
          </a:p>
        </p:txBody>
      </p:sp>
      <p:grpSp>
        <p:nvGrpSpPr>
          <p:cNvPr id="3" name="Groupe 2"/>
          <p:cNvGrpSpPr/>
          <p:nvPr/>
        </p:nvGrpSpPr>
        <p:grpSpPr>
          <a:xfrm rot="10800000">
            <a:off x="1926199" y="764704"/>
            <a:ext cx="2763176" cy="2640947"/>
            <a:chOff x="-2186736" y="1285208"/>
            <a:chExt cx="2874075" cy="2640947"/>
          </a:xfrm>
        </p:grpSpPr>
        <p:sp>
          <p:nvSpPr>
            <p:cNvPr id="37" name="Arc plein 36"/>
            <p:cNvSpPr/>
            <p:nvPr/>
          </p:nvSpPr>
          <p:spPr>
            <a:xfrm>
              <a:off x="-2186736" y="1285208"/>
              <a:ext cx="2640947" cy="2640947"/>
            </a:xfrm>
            <a:prstGeom prst="blockArc">
              <a:avLst>
                <a:gd name="adj1" fmla="val 18900000"/>
                <a:gd name="adj2" fmla="val 2700000"/>
                <a:gd name="adj3" fmla="val 818"/>
              </a:avLst>
            </a:prstGeom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9" name="Ellipse 38"/>
            <p:cNvSpPr/>
            <p:nvPr/>
          </p:nvSpPr>
          <p:spPr>
            <a:xfrm>
              <a:off x="55830" y="1773975"/>
              <a:ext cx="489238" cy="489238"/>
            </a:xfrm>
            <a:prstGeom prst="ellipse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1" name="Ellipse 40"/>
            <p:cNvSpPr/>
            <p:nvPr/>
          </p:nvSpPr>
          <p:spPr>
            <a:xfrm>
              <a:off x="198101" y="2361062"/>
              <a:ext cx="489238" cy="489238"/>
            </a:xfrm>
            <a:prstGeom prst="ellipse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3" name="Ellipse 42"/>
            <p:cNvSpPr/>
            <p:nvPr/>
          </p:nvSpPr>
          <p:spPr>
            <a:xfrm>
              <a:off x="55830" y="2948148"/>
              <a:ext cx="489238" cy="489238"/>
            </a:xfrm>
            <a:prstGeom prst="ellipse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grpSp>
        <p:nvGrpSpPr>
          <p:cNvPr id="47" name="Groupe 46"/>
          <p:cNvGrpSpPr/>
          <p:nvPr/>
        </p:nvGrpSpPr>
        <p:grpSpPr>
          <a:xfrm rot="10800000">
            <a:off x="1835697" y="3573016"/>
            <a:ext cx="2763176" cy="2640947"/>
            <a:chOff x="-2186736" y="1285208"/>
            <a:chExt cx="2874075" cy="2640947"/>
          </a:xfrm>
        </p:grpSpPr>
        <p:sp>
          <p:nvSpPr>
            <p:cNvPr id="48" name="Arc plein 47"/>
            <p:cNvSpPr/>
            <p:nvPr/>
          </p:nvSpPr>
          <p:spPr>
            <a:xfrm>
              <a:off x="-2186736" y="1285208"/>
              <a:ext cx="2640947" cy="2640947"/>
            </a:xfrm>
            <a:prstGeom prst="blockArc">
              <a:avLst>
                <a:gd name="adj1" fmla="val 18900000"/>
                <a:gd name="adj2" fmla="val 2700000"/>
                <a:gd name="adj3" fmla="val 818"/>
              </a:avLst>
            </a:prstGeom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9" name="Ellipse 48"/>
            <p:cNvSpPr/>
            <p:nvPr/>
          </p:nvSpPr>
          <p:spPr>
            <a:xfrm>
              <a:off x="55830" y="1773975"/>
              <a:ext cx="489238" cy="489238"/>
            </a:xfrm>
            <a:prstGeom prst="ellipse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50" name="Ellipse 49"/>
            <p:cNvSpPr/>
            <p:nvPr/>
          </p:nvSpPr>
          <p:spPr>
            <a:xfrm>
              <a:off x="198101" y="2361062"/>
              <a:ext cx="489238" cy="489238"/>
            </a:xfrm>
            <a:prstGeom prst="ellipse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51" name="Ellipse 50"/>
            <p:cNvSpPr/>
            <p:nvPr/>
          </p:nvSpPr>
          <p:spPr>
            <a:xfrm>
              <a:off x="55830" y="2948148"/>
              <a:ext cx="489238" cy="489238"/>
            </a:xfrm>
            <a:prstGeom prst="ellipse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</p:spTree>
    <p:extLst>
      <p:ext uri="{BB962C8B-B14F-4D97-AF65-F5344CB8AC3E}">
        <p14:creationId xmlns:p14="http://schemas.microsoft.com/office/powerpoint/2010/main" val="4259878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8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4" grpId="0" animBg="1"/>
      <p:bldGraphic spid="25" grpId="0">
        <p:bldAsOne/>
      </p:bldGraphic>
      <p:bldP spid="27" grpId="0" animBg="1"/>
      <p:bldP spid="28" grpId="0" animBg="1"/>
      <p:bldGraphic spid="29" grpId="0">
        <p:bldAsOne/>
      </p:bldGraphic>
      <p:bldP spid="30" grpId="0" animBg="1"/>
      <p:bldP spid="32" grpId="0" animBg="1"/>
      <p:bldP spid="34" grpId="0" animBg="1"/>
      <p:bldP spid="44" grpId="0" animBg="1"/>
      <p:bldP spid="45" grpId="0" animBg="1"/>
      <p:bldP spid="46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altLang="fr-FR" dirty="0">
                <a:solidFill>
                  <a:schemeClr val="accent1">
                    <a:lumMod val="75000"/>
                  </a:schemeClr>
                </a:solidFill>
                <a:effectLst>
                  <a:outerShdw blurRad="50800" dist="50800" dir="5400000" algn="ctr" rotWithShape="0">
                    <a:schemeClr val="accent1">
                      <a:lumMod val="60000"/>
                      <a:lumOff val="40000"/>
                    </a:schemeClr>
                  </a:outerShdw>
                </a:effectLst>
              </a:rPr>
              <a:t>Certification Interne</a:t>
            </a:r>
            <a:br>
              <a:rPr lang="fr-FR" altLang="fr-FR" dirty="0">
                <a:solidFill>
                  <a:schemeClr val="accent1">
                    <a:lumMod val="75000"/>
                  </a:schemeClr>
                </a:solidFill>
                <a:effectLst>
                  <a:outerShdw blurRad="50800" dist="50800" dir="5400000" algn="ctr" rotWithShape="0">
                    <a:schemeClr val="accent1">
                      <a:lumMod val="60000"/>
                      <a:lumOff val="40000"/>
                    </a:schemeClr>
                  </a:outerShdw>
                </a:effectLst>
              </a:rPr>
            </a:br>
            <a:r>
              <a:rPr lang="fr-FR" altLang="fr-FR" sz="3100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50800" dist="50800" dir="5400000" algn="ctr" rotWithShape="0">
                    <a:schemeClr val="accent1">
                      <a:lumMod val="60000"/>
                      <a:lumOff val="40000"/>
                    </a:schemeClr>
                  </a:outerShdw>
                </a:effectLst>
              </a:rPr>
              <a:t>Confidentialité</a:t>
            </a:r>
            <a:r>
              <a:rPr lang="fr-FR" altLang="fr-FR" sz="3100" dirty="0">
                <a:solidFill>
                  <a:schemeClr val="accent1">
                    <a:lumMod val="75000"/>
                  </a:schemeClr>
                </a:solidFill>
                <a:effectLst>
                  <a:outerShdw blurRad="50800" dist="50800" dir="5400000" algn="ctr" rotWithShape="0">
                    <a:schemeClr val="accent1">
                      <a:lumMod val="60000"/>
                      <a:lumOff val="40000"/>
                    </a:schemeClr>
                  </a:outerShdw>
                </a:effectLst>
              </a:rPr>
              <a:t>, Disponibilité, Intégrité, Preuve</a:t>
            </a:r>
            <a:endParaRPr lang="fr-BE" sz="2200" dirty="0">
              <a:solidFill>
                <a:schemeClr val="accent1">
                  <a:lumMod val="75000"/>
                </a:schemeClr>
              </a:solidFill>
              <a:effectLst>
                <a:outerShdw blurRad="50800" dist="50800" dir="5400000" algn="ctr" rotWithShape="0">
                  <a:schemeClr val="accent1">
                    <a:lumMod val="60000"/>
                    <a:lumOff val="40000"/>
                  </a:schemeClr>
                </a:outerShdw>
              </a:effectLst>
            </a:endParaRPr>
          </a:p>
        </p:txBody>
      </p:sp>
      <p:sp>
        <p:nvSpPr>
          <p:cNvPr id="23" name="Oval 13"/>
          <p:cNvSpPr/>
          <p:nvPr/>
        </p:nvSpPr>
        <p:spPr bwMode="auto">
          <a:xfrm>
            <a:off x="2366239" y="1195257"/>
            <a:ext cx="1424954" cy="1341718"/>
          </a:xfrm>
          <a:prstGeom prst="ellipse">
            <a:avLst/>
          </a:prstGeom>
          <a:solidFill>
            <a:srgbClr val="6C9E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anchor="ctr"/>
          <a:lstStyle/>
          <a:p>
            <a:pPr algn="ctr">
              <a:defRPr/>
            </a:pPr>
            <a:r>
              <a:rPr lang="fr-FR" sz="1600" b="1" dirty="0" smtClean="0">
                <a:cs typeface="Verdana"/>
              </a:rPr>
              <a:t>Sensibilisation</a:t>
            </a:r>
          </a:p>
          <a:p>
            <a:pPr algn="ctr">
              <a:defRPr/>
            </a:pPr>
            <a:r>
              <a:rPr lang="fr-FR" sz="1600" b="1" dirty="0" smtClean="0">
                <a:cs typeface="Verdana"/>
              </a:rPr>
              <a:t>Information</a:t>
            </a:r>
            <a:endParaRPr lang="fr-FR" sz="1600" dirty="0">
              <a:cs typeface="Verdana"/>
            </a:endParaRPr>
          </a:p>
        </p:txBody>
      </p:sp>
      <p:sp>
        <p:nvSpPr>
          <p:cNvPr id="24" name="Oval 2"/>
          <p:cNvSpPr/>
          <p:nvPr/>
        </p:nvSpPr>
        <p:spPr bwMode="auto">
          <a:xfrm>
            <a:off x="4932040" y="1037189"/>
            <a:ext cx="1480328" cy="1536362"/>
          </a:xfrm>
          <a:prstGeom prst="ellipse">
            <a:avLst/>
          </a:prstGeom>
          <a:solidFill>
            <a:srgbClr val="0070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anchor="ctr"/>
          <a:lstStyle/>
          <a:p>
            <a:pPr algn="ctr">
              <a:defRPr/>
            </a:pPr>
            <a:r>
              <a:rPr lang="fr-FR" sz="1600" dirty="0" smtClean="0">
                <a:cs typeface="Verdana"/>
              </a:rPr>
              <a:t>responsabilité</a:t>
            </a:r>
            <a:endParaRPr lang="fr-FR" sz="1600" dirty="0">
              <a:cs typeface="Verdana"/>
            </a:endParaRPr>
          </a:p>
        </p:txBody>
      </p:sp>
      <p:graphicFrame>
        <p:nvGraphicFramePr>
          <p:cNvPr id="25" name="Diagramme 24"/>
          <p:cNvGraphicFramePr/>
          <p:nvPr>
            <p:extLst>
              <p:ext uri="{D42A27DB-BD31-4B8C-83A1-F6EECF244321}">
                <p14:modId xmlns:p14="http://schemas.microsoft.com/office/powerpoint/2010/main" val="1486087032"/>
              </p:ext>
            </p:extLst>
          </p:nvPr>
        </p:nvGraphicFramePr>
        <p:xfrm>
          <a:off x="6281999" y="937744"/>
          <a:ext cx="2580012" cy="18515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7" name="Oval 13"/>
          <p:cNvSpPr/>
          <p:nvPr/>
        </p:nvSpPr>
        <p:spPr bwMode="auto">
          <a:xfrm>
            <a:off x="2173365" y="4425709"/>
            <a:ext cx="1390524" cy="1449316"/>
          </a:xfrm>
          <a:prstGeom prst="ellipse">
            <a:avLst/>
          </a:prstGeom>
          <a:solidFill>
            <a:srgbClr val="6C9E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anchor="ctr"/>
          <a:lstStyle/>
          <a:p>
            <a:pPr algn="ctr">
              <a:defRPr/>
            </a:pPr>
            <a:r>
              <a:rPr lang="fr-FR" sz="1600" b="1" dirty="0" smtClean="0">
                <a:cs typeface="Verdana"/>
              </a:rPr>
              <a:t>Monitoring</a:t>
            </a:r>
          </a:p>
          <a:p>
            <a:pPr algn="ctr">
              <a:defRPr/>
            </a:pPr>
            <a:r>
              <a:rPr lang="fr-FR" sz="1600" b="1" dirty="0" smtClean="0">
                <a:cs typeface="Verdana"/>
              </a:rPr>
              <a:t>Surveillance</a:t>
            </a:r>
            <a:endParaRPr lang="fr-FR" sz="1600" dirty="0">
              <a:cs typeface="Verdana"/>
            </a:endParaRPr>
          </a:p>
        </p:txBody>
      </p:sp>
      <p:sp>
        <p:nvSpPr>
          <p:cNvPr id="28" name="Oval 12"/>
          <p:cNvSpPr/>
          <p:nvPr/>
        </p:nvSpPr>
        <p:spPr bwMode="auto">
          <a:xfrm>
            <a:off x="4932040" y="4509316"/>
            <a:ext cx="1408320" cy="1336310"/>
          </a:xfrm>
          <a:prstGeom prst="ellipse">
            <a:avLst/>
          </a:prstGeom>
          <a:solidFill>
            <a:srgbClr val="0070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anchor="ctr"/>
          <a:lstStyle/>
          <a:p>
            <a:pPr algn="ctr">
              <a:defRPr/>
            </a:pPr>
            <a:r>
              <a:rPr lang="fr-FR" b="1" dirty="0" smtClean="0">
                <a:cs typeface="Verdana"/>
              </a:rPr>
              <a:t>Exercice</a:t>
            </a:r>
          </a:p>
          <a:p>
            <a:pPr algn="ctr">
              <a:defRPr/>
            </a:pPr>
            <a:r>
              <a:rPr lang="fr-FR" b="1" dirty="0" smtClean="0">
                <a:cs typeface="Verdana"/>
              </a:rPr>
              <a:t>droits</a:t>
            </a:r>
            <a:endParaRPr lang="fr-FR" dirty="0">
              <a:cs typeface="Verdana"/>
            </a:endParaRPr>
          </a:p>
        </p:txBody>
      </p:sp>
      <p:graphicFrame>
        <p:nvGraphicFramePr>
          <p:cNvPr id="29" name="Diagramme 28"/>
          <p:cNvGraphicFramePr/>
          <p:nvPr>
            <p:extLst>
              <p:ext uri="{D42A27DB-BD31-4B8C-83A1-F6EECF244321}">
                <p14:modId xmlns:p14="http://schemas.microsoft.com/office/powerpoint/2010/main" val="374705354"/>
              </p:ext>
            </p:extLst>
          </p:nvPr>
        </p:nvGraphicFramePr>
        <p:xfrm>
          <a:off x="6340360" y="4411074"/>
          <a:ext cx="2336096" cy="15327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30" name="Rectangle 29"/>
          <p:cNvSpPr/>
          <p:nvPr/>
        </p:nvSpPr>
        <p:spPr bwMode="auto">
          <a:xfrm>
            <a:off x="179511" y="4514640"/>
            <a:ext cx="1837141" cy="322887"/>
          </a:xfrm>
          <a:prstGeom prst="rect">
            <a:avLst/>
          </a:prstGeom>
          <a:solidFill>
            <a:srgbClr val="6C9E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fr-FR" sz="1200" dirty="0" smtClean="0"/>
              <a:t>Droits d’accès / diffusion traçabilité</a:t>
            </a:r>
            <a:endParaRPr lang="fr-FR" sz="1100" dirty="0"/>
          </a:p>
        </p:txBody>
      </p:sp>
      <p:sp>
        <p:nvSpPr>
          <p:cNvPr id="32" name="Rectangle 31"/>
          <p:cNvSpPr/>
          <p:nvPr/>
        </p:nvSpPr>
        <p:spPr bwMode="auto">
          <a:xfrm>
            <a:off x="212873" y="4996665"/>
            <a:ext cx="1653251" cy="266091"/>
          </a:xfrm>
          <a:prstGeom prst="rect">
            <a:avLst/>
          </a:prstGeom>
          <a:solidFill>
            <a:srgbClr val="6C9E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fr-FR" sz="1200" dirty="0"/>
              <a:t>Réponse incidents </a:t>
            </a:r>
            <a:endParaRPr lang="fr-FR" sz="1050" dirty="0"/>
          </a:p>
        </p:txBody>
      </p:sp>
      <p:sp>
        <p:nvSpPr>
          <p:cNvPr id="34" name="Rectangle 33"/>
          <p:cNvSpPr/>
          <p:nvPr/>
        </p:nvSpPr>
        <p:spPr bwMode="auto">
          <a:xfrm>
            <a:off x="207422" y="5445224"/>
            <a:ext cx="1809229" cy="288000"/>
          </a:xfrm>
          <a:prstGeom prst="rect">
            <a:avLst/>
          </a:prstGeom>
          <a:solidFill>
            <a:srgbClr val="6C9E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fr-FR" sz="1200" dirty="0" smtClean="0"/>
              <a:t>Audits  réguliers</a:t>
            </a:r>
            <a:endParaRPr lang="fr-FR" sz="1100" dirty="0"/>
          </a:p>
        </p:txBody>
      </p:sp>
      <p:sp>
        <p:nvSpPr>
          <p:cNvPr id="44" name="Rectangle 43"/>
          <p:cNvSpPr/>
          <p:nvPr/>
        </p:nvSpPr>
        <p:spPr bwMode="auto">
          <a:xfrm>
            <a:off x="377343" y="1237666"/>
            <a:ext cx="1796137" cy="288000"/>
          </a:xfrm>
          <a:prstGeom prst="rect">
            <a:avLst/>
          </a:prstGeom>
          <a:solidFill>
            <a:srgbClr val="6C9E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fr-FR" sz="1200" dirty="0" smtClean="0"/>
              <a:t>Consentement</a:t>
            </a:r>
            <a:endParaRPr lang="fr-FR" sz="1100" dirty="0"/>
          </a:p>
        </p:txBody>
      </p:sp>
      <p:sp>
        <p:nvSpPr>
          <p:cNvPr id="45" name="Rectangle 44"/>
          <p:cNvSpPr/>
          <p:nvPr/>
        </p:nvSpPr>
        <p:spPr bwMode="auto">
          <a:xfrm>
            <a:off x="395536" y="1658293"/>
            <a:ext cx="1836739" cy="288000"/>
          </a:xfrm>
          <a:prstGeom prst="rect">
            <a:avLst/>
          </a:prstGeom>
          <a:solidFill>
            <a:srgbClr val="6C9E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fr-FR" sz="1200" dirty="0" smtClean="0"/>
              <a:t>Notices d’Information</a:t>
            </a:r>
            <a:endParaRPr lang="fr-FR" sz="1050" dirty="0"/>
          </a:p>
        </p:txBody>
      </p:sp>
      <p:sp>
        <p:nvSpPr>
          <p:cNvPr id="46" name="Rectangle 45"/>
          <p:cNvSpPr/>
          <p:nvPr/>
        </p:nvSpPr>
        <p:spPr bwMode="auto">
          <a:xfrm>
            <a:off x="423627" y="2132888"/>
            <a:ext cx="1796136" cy="288000"/>
          </a:xfrm>
          <a:prstGeom prst="rect">
            <a:avLst/>
          </a:prstGeom>
          <a:solidFill>
            <a:srgbClr val="6C9E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fr-FR" sz="1200" dirty="0" smtClean="0"/>
              <a:t>Procédure utilisateur</a:t>
            </a:r>
            <a:endParaRPr lang="fr-FR" sz="1100" dirty="0"/>
          </a:p>
        </p:txBody>
      </p:sp>
      <p:grpSp>
        <p:nvGrpSpPr>
          <p:cNvPr id="3" name="Groupe 2"/>
          <p:cNvGrpSpPr/>
          <p:nvPr/>
        </p:nvGrpSpPr>
        <p:grpSpPr>
          <a:xfrm rot="10800000">
            <a:off x="1907704" y="836712"/>
            <a:ext cx="2448272" cy="1937315"/>
            <a:chOff x="-2186736" y="1285208"/>
            <a:chExt cx="2874075" cy="2640947"/>
          </a:xfrm>
        </p:grpSpPr>
        <p:sp>
          <p:nvSpPr>
            <p:cNvPr id="37" name="Arc plein 36"/>
            <p:cNvSpPr/>
            <p:nvPr/>
          </p:nvSpPr>
          <p:spPr>
            <a:xfrm>
              <a:off x="-2186736" y="1285208"/>
              <a:ext cx="2640947" cy="2640947"/>
            </a:xfrm>
            <a:prstGeom prst="blockArc">
              <a:avLst>
                <a:gd name="adj1" fmla="val 18900000"/>
                <a:gd name="adj2" fmla="val 2700000"/>
                <a:gd name="adj3" fmla="val 818"/>
              </a:avLst>
            </a:prstGeom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9" name="Ellipse 38"/>
            <p:cNvSpPr/>
            <p:nvPr/>
          </p:nvSpPr>
          <p:spPr>
            <a:xfrm>
              <a:off x="55830" y="1773975"/>
              <a:ext cx="489238" cy="489238"/>
            </a:xfrm>
            <a:prstGeom prst="ellipse">
              <a:avLst/>
            </a:prstGeom>
            <a:ln>
              <a:solidFill>
                <a:schemeClr val="accent4">
                  <a:lumMod val="25000"/>
                  <a:lumOff val="75000"/>
                </a:schemeClr>
              </a:solidFill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1" name="Ellipse 40"/>
            <p:cNvSpPr/>
            <p:nvPr/>
          </p:nvSpPr>
          <p:spPr>
            <a:xfrm>
              <a:off x="198101" y="2361062"/>
              <a:ext cx="489238" cy="489238"/>
            </a:xfrm>
            <a:prstGeom prst="ellipse">
              <a:avLst/>
            </a:prstGeom>
            <a:ln>
              <a:solidFill>
                <a:schemeClr val="accent4">
                  <a:lumMod val="25000"/>
                  <a:lumOff val="75000"/>
                </a:schemeClr>
              </a:solidFill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3" name="Ellipse 42"/>
            <p:cNvSpPr/>
            <p:nvPr/>
          </p:nvSpPr>
          <p:spPr>
            <a:xfrm>
              <a:off x="55830" y="2948148"/>
              <a:ext cx="489238" cy="489238"/>
            </a:xfrm>
            <a:prstGeom prst="ellipse">
              <a:avLst/>
            </a:prstGeom>
            <a:ln>
              <a:solidFill>
                <a:schemeClr val="accent4">
                  <a:lumMod val="25000"/>
                  <a:lumOff val="75000"/>
                </a:schemeClr>
              </a:solidFill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grpSp>
        <p:nvGrpSpPr>
          <p:cNvPr id="47" name="Groupe 46"/>
          <p:cNvGrpSpPr/>
          <p:nvPr/>
        </p:nvGrpSpPr>
        <p:grpSpPr>
          <a:xfrm rot="10800000">
            <a:off x="1763689" y="4005064"/>
            <a:ext cx="2232366" cy="2223025"/>
            <a:chOff x="-2186736" y="1285208"/>
            <a:chExt cx="2874075" cy="2640947"/>
          </a:xfrm>
        </p:grpSpPr>
        <p:sp>
          <p:nvSpPr>
            <p:cNvPr id="48" name="Arc plein 47"/>
            <p:cNvSpPr/>
            <p:nvPr/>
          </p:nvSpPr>
          <p:spPr>
            <a:xfrm>
              <a:off x="-2186736" y="1285208"/>
              <a:ext cx="2640947" cy="2640947"/>
            </a:xfrm>
            <a:prstGeom prst="blockArc">
              <a:avLst>
                <a:gd name="adj1" fmla="val 18900000"/>
                <a:gd name="adj2" fmla="val 2700000"/>
                <a:gd name="adj3" fmla="val 818"/>
              </a:avLst>
            </a:prstGeom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9" name="Ellipse 48"/>
            <p:cNvSpPr/>
            <p:nvPr/>
          </p:nvSpPr>
          <p:spPr>
            <a:xfrm>
              <a:off x="55830" y="1773975"/>
              <a:ext cx="489238" cy="489238"/>
            </a:xfrm>
            <a:prstGeom prst="ellipse">
              <a:avLst/>
            </a:prstGeom>
            <a:ln>
              <a:solidFill>
                <a:srgbClr val="00B0F0"/>
              </a:solidFill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50" name="Ellipse 49"/>
            <p:cNvSpPr/>
            <p:nvPr/>
          </p:nvSpPr>
          <p:spPr>
            <a:xfrm>
              <a:off x="198101" y="2361062"/>
              <a:ext cx="489238" cy="489238"/>
            </a:xfrm>
            <a:prstGeom prst="ellipse">
              <a:avLst/>
            </a:prstGeom>
            <a:ln>
              <a:solidFill>
                <a:srgbClr val="00B0F0"/>
              </a:solidFill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51" name="Ellipse 50"/>
            <p:cNvSpPr/>
            <p:nvPr/>
          </p:nvSpPr>
          <p:spPr>
            <a:xfrm>
              <a:off x="55830" y="2948148"/>
              <a:ext cx="489238" cy="489238"/>
            </a:xfrm>
            <a:prstGeom prst="ellipse">
              <a:avLst/>
            </a:prstGeom>
            <a:ln>
              <a:solidFill>
                <a:srgbClr val="00B0F0"/>
              </a:solidFill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26" name="Oval 2"/>
          <p:cNvSpPr/>
          <p:nvPr/>
        </p:nvSpPr>
        <p:spPr bwMode="auto">
          <a:xfrm>
            <a:off x="3451406" y="2774029"/>
            <a:ext cx="1377327" cy="1529498"/>
          </a:xfrm>
          <a:prstGeom prst="ellipse">
            <a:avLst/>
          </a:prstGeom>
          <a:solidFill>
            <a:srgbClr val="00206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anchor="ctr"/>
          <a:lstStyle/>
          <a:p>
            <a:pPr algn="ctr">
              <a:defRPr/>
            </a:pPr>
            <a:r>
              <a:rPr lang="fr-FR" dirty="0" smtClean="0">
                <a:cs typeface="Verdana"/>
              </a:rPr>
              <a:t>Sécurisation</a:t>
            </a:r>
          </a:p>
          <a:p>
            <a:pPr algn="ctr">
              <a:defRPr/>
            </a:pPr>
            <a:r>
              <a:rPr lang="fr-FR" dirty="0" err="1" smtClean="0">
                <a:cs typeface="Verdana"/>
              </a:rPr>
              <a:t>Fct</a:t>
            </a:r>
            <a:r>
              <a:rPr lang="fr-FR" dirty="0" smtClean="0">
                <a:cs typeface="Verdana"/>
              </a:rPr>
              <a:t>(PIA)</a:t>
            </a:r>
          </a:p>
          <a:p>
            <a:pPr algn="ctr">
              <a:defRPr/>
            </a:pPr>
            <a:r>
              <a:rPr lang="fr-FR" dirty="0" smtClean="0">
                <a:cs typeface="Verdana"/>
              </a:rPr>
              <a:t>(ISO29100)</a:t>
            </a:r>
            <a:endParaRPr lang="fr-FR" dirty="0">
              <a:cs typeface="Verdana"/>
            </a:endParaRPr>
          </a:p>
        </p:txBody>
      </p:sp>
      <p:graphicFrame>
        <p:nvGraphicFramePr>
          <p:cNvPr id="31" name="Diagramme 30"/>
          <p:cNvGraphicFramePr/>
          <p:nvPr>
            <p:extLst>
              <p:ext uri="{D42A27DB-BD31-4B8C-83A1-F6EECF244321}">
                <p14:modId xmlns:p14="http://schemas.microsoft.com/office/powerpoint/2010/main" val="1132278629"/>
              </p:ext>
            </p:extLst>
          </p:nvPr>
        </p:nvGraphicFramePr>
        <p:xfrm>
          <a:off x="4828557" y="2663067"/>
          <a:ext cx="2580012" cy="18515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</p:spTree>
    <p:extLst>
      <p:ext uri="{BB962C8B-B14F-4D97-AF65-F5344CB8AC3E}">
        <p14:creationId xmlns:p14="http://schemas.microsoft.com/office/powerpoint/2010/main" val="2677688059"/>
      </p:ext>
    </p:extLst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9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2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5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4" grpId="0" animBg="1"/>
      <p:bldGraphic spid="25" grpId="0">
        <p:bldAsOne/>
      </p:bldGraphic>
      <p:bldP spid="27" grpId="0" animBg="1"/>
      <p:bldP spid="28" grpId="0" animBg="1"/>
      <p:bldGraphic spid="29" grpId="0">
        <p:bldAsOne/>
      </p:bldGraphic>
      <p:bldP spid="30" grpId="0" animBg="1"/>
      <p:bldP spid="32" grpId="0" animBg="1"/>
      <p:bldP spid="34" grpId="0" animBg="1"/>
      <p:bldP spid="44" grpId="0" animBg="1"/>
      <p:bldP spid="45" grpId="0" animBg="1"/>
      <p:bldP spid="46" grpId="0" animBg="1"/>
      <p:bldP spid="26" grpId="0" animBg="1"/>
      <p:bldGraphic spid="31" grpId="0">
        <p:bldAsOne/>
      </p:bldGraphic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smtClean="0"/>
              <a:t>Quelques infos pratiques</a:t>
            </a:r>
            <a:endParaRPr lang="fr-BE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79388" y="857250"/>
            <a:ext cx="8856538" cy="4284250"/>
          </a:xfrm>
        </p:spPr>
        <p:txBody>
          <a:bodyPr/>
          <a:lstStyle/>
          <a:p>
            <a:pPr marL="285750" indent="-285750">
              <a:buFontTx/>
              <a:buChar char="-"/>
            </a:pPr>
            <a:r>
              <a:rPr lang="fr-BE" sz="2400" dirty="0" smtClean="0"/>
              <a:t>Normes</a:t>
            </a:r>
          </a:p>
          <a:p>
            <a:pPr marL="571500" lvl="1">
              <a:buFontTx/>
              <a:buChar char="-"/>
            </a:pPr>
            <a:r>
              <a:rPr lang="fr-BE" sz="2400" dirty="0" err="1" smtClean="0"/>
              <a:t>Privacy</a:t>
            </a:r>
            <a:r>
              <a:rPr lang="fr-BE" sz="2400" dirty="0" smtClean="0"/>
              <a:t> Framework</a:t>
            </a:r>
          </a:p>
          <a:p>
            <a:pPr marL="571500" lvl="1">
              <a:buFontTx/>
              <a:buChar char="-"/>
            </a:pPr>
            <a:r>
              <a:rPr lang="fr-BE" sz="2400" dirty="0" smtClean="0"/>
              <a:t>Modèles d’exigences – mesures organisationnelles et techniques</a:t>
            </a:r>
          </a:p>
          <a:p>
            <a:pPr lvl="1" indent="0">
              <a:buNone/>
            </a:pPr>
            <a:endParaRPr lang="fr-BE" sz="2400" dirty="0" smtClean="0"/>
          </a:p>
          <a:p>
            <a:pPr marL="285750" indent="-285750">
              <a:buFontTx/>
              <a:buChar char="-"/>
            </a:pPr>
            <a:r>
              <a:rPr lang="fr-BE" sz="2400" dirty="0" smtClean="0"/>
              <a:t>La check </a:t>
            </a:r>
            <a:r>
              <a:rPr lang="fr-BE" sz="2400" dirty="0" err="1" smtClean="0"/>
              <a:t>list</a:t>
            </a:r>
            <a:r>
              <a:rPr lang="fr-BE" sz="2400" dirty="0" smtClean="0"/>
              <a:t> des actions pour mener un programme de Data </a:t>
            </a:r>
            <a:r>
              <a:rPr lang="fr-BE" sz="2400" dirty="0" err="1" smtClean="0"/>
              <a:t>Privacy</a:t>
            </a:r>
            <a:r>
              <a:rPr lang="fr-BE" sz="2400" dirty="0" smtClean="0"/>
              <a:t> Management</a:t>
            </a:r>
          </a:p>
          <a:p>
            <a:pPr marL="285750" indent="-285750">
              <a:buFontTx/>
              <a:buChar char="-"/>
            </a:pPr>
            <a:endParaRPr lang="fr-BE" sz="2400" dirty="0"/>
          </a:p>
          <a:p>
            <a:pPr marL="285750" indent="-285750">
              <a:buFontTx/>
              <a:buChar char="-"/>
            </a:pPr>
            <a:r>
              <a:rPr lang="fr-BE" sz="2400" dirty="0" smtClean="0"/>
              <a:t>Quelques sites importants</a:t>
            </a:r>
          </a:p>
          <a:p>
            <a:pPr marL="571500" lvl="1">
              <a:buFontTx/>
              <a:buChar char="-"/>
            </a:pPr>
            <a:r>
              <a:rPr lang="fr-BE" sz="2400" dirty="0" smtClean="0"/>
              <a:t>CPVP</a:t>
            </a:r>
          </a:p>
          <a:p>
            <a:pPr marL="571500" lvl="1">
              <a:buFontTx/>
              <a:buChar char="-"/>
            </a:pPr>
            <a:r>
              <a:rPr lang="fr-BE" sz="2400" dirty="0"/>
              <a:t>CNIL </a:t>
            </a:r>
            <a:r>
              <a:rPr lang="fr-BE" sz="1800" dirty="0"/>
              <a:t>(https://</a:t>
            </a:r>
            <a:r>
              <a:rPr lang="fr-BE" sz="1800" dirty="0" smtClean="0"/>
              <a:t>www.cnil.fr/fr/outil-pia-telechargez-et-installez-le-logiciel-de-la-cnil)</a:t>
            </a:r>
            <a:endParaRPr lang="fr-BE" sz="2400" dirty="0" smtClean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E023587-1241-4C30-8F04-DE527417392D}" type="slidenum">
              <a:rPr lang="fr-BE" smtClean="0"/>
              <a:pPr>
                <a:defRPr/>
              </a:pPr>
              <a:t>17</a:t>
            </a:fld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2725841714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fr-BE" sz="3200" dirty="0"/>
              <a:t>normes </a:t>
            </a:r>
            <a:r>
              <a:rPr lang="fr-BE" sz="3200" dirty="0" smtClean="0"/>
              <a:t>de référence </a:t>
            </a:r>
            <a:r>
              <a:rPr lang="fr-BE" sz="3200" dirty="0"/>
              <a:t>choisies et adoptées</a:t>
            </a:r>
            <a:r>
              <a:rPr lang="fr-BE" sz="3600" dirty="0"/>
              <a:t/>
            </a:r>
            <a:br>
              <a:rPr lang="fr-BE" sz="3600" dirty="0"/>
            </a:br>
            <a:endParaRPr lang="fr-BE" sz="2800" dirty="0"/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1612900" y="1851025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alt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Espace réservé du contenu 5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68" y="980728"/>
            <a:ext cx="7466089" cy="4032448"/>
          </a:xfrm>
        </p:spPr>
      </p:pic>
      <p:sp>
        <p:nvSpPr>
          <p:cNvPr id="7" name="ZoneTexte 6"/>
          <p:cNvSpPr txBox="1"/>
          <p:nvPr/>
        </p:nvSpPr>
        <p:spPr>
          <a:xfrm>
            <a:off x="1331640" y="5157192"/>
            <a:ext cx="69127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dirty="0" smtClean="0"/>
              <a:t>Plusieurs références :</a:t>
            </a:r>
          </a:p>
          <a:p>
            <a:r>
              <a:rPr lang="fr-BE" dirty="0" smtClean="0"/>
              <a:t>Les travaux de la CNIL</a:t>
            </a:r>
          </a:p>
          <a:p>
            <a:r>
              <a:rPr lang="fr-BE" dirty="0" smtClean="0"/>
              <a:t>Les documents disponibles sur le site de la CPVP</a:t>
            </a:r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10317195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fr-BE" sz="3200" dirty="0"/>
              <a:t>normes volontaires, choisies et adoptées</a:t>
            </a:r>
            <a:r>
              <a:rPr lang="fr-BE" sz="3600" dirty="0"/>
              <a:t/>
            </a:r>
            <a:br>
              <a:rPr lang="fr-BE" sz="3600" dirty="0"/>
            </a:br>
            <a:r>
              <a:rPr lang="fr-BE" sz="2800" dirty="0"/>
              <a:t>ISO/IEC 29100 - </a:t>
            </a:r>
            <a:r>
              <a:rPr lang="fr-BE" sz="2800" dirty="0" err="1"/>
              <a:t>Privacy</a:t>
            </a:r>
            <a:r>
              <a:rPr lang="fr-BE" sz="2800" dirty="0"/>
              <a:t> Framework</a:t>
            </a:r>
          </a:p>
        </p:txBody>
      </p:sp>
      <p:graphicFrame>
        <p:nvGraphicFramePr>
          <p:cNvPr id="4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5713855"/>
              </p:ext>
            </p:extLst>
          </p:nvPr>
        </p:nvGraphicFramePr>
        <p:xfrm>
          <a:off x="32302" y="1268760"/>
          <a:ext cx="8857365" cy="442656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335053"/>
                <a:gridCol w="5522312"/>
              </a:tblGrid>
              <a:tr h="308017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r-BE" sz="1100" dirty="0">
                          <a:effectLst/>
                        </a:rPr>
                        <a:t>Consent and </a:t>
                      </a:r>
                      <a:r>
                        <a:rPr lang="fr-BE" sz="1100" dirty="0" err="1">
                          <a:effectLst/>
                        </a:rPr>
                        <a:t>choice</a:t>
                      </a:r>
                      <a:endParaRPr lang="fr-BE" sz="1200" dirty="0">
                        <a:solidFill>
                          <a:srgbClr val="000000"/>
                        </a:solidFill>
                        <a:effectLst/>
                        <a:latin typeface="Tahoma"/>
                        <a:ea typeface="Times New Roman"/>
                      </a:endParaRPr>
                    </a:p>
                  </a:txBody>
                  <a:tcPr marL="81113" marR="81113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r-BE" sz="1100" dirty="0">
                          <a:effectLst/>
                        </a:rPr>
                        <a:t>Consentement éclairé des personnes concernées</a:t>
                      </a:r>
                      <a:endParaRPr lang="fr-BE" sz="1200" dirty="0">
                        <a:solidFill>
                          <a:srgbClr val="000000"/>
                        </a:solidFill>
                        <a:effectLst/>
                        <a:latin typeface="Tahoma"/>
                        <a:ea typeface="Times New Roman"/>
                      </a:endParaRPr>
                    </a:p>
                  </a:txBody>
                  <a:tcPr marL="81113" marR="81113" marT="0" marB="0">
                    <a:solidFill>
                      <a:srgbClr val="0070C0"/>
                    </a:solidFill>
                  </a:tcPr>
                </a:tc>
              </a:tr>
              <a:tr h="654142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r-BE" sz="1100" dirty="0" err="1">
                          <a:effectLst/>
                        </a:rPr>
                        <a:t>Purpose</a:t>
                      </a:r>
                      <a:r>
                        <a:rPr lang="fr-BE" sz="1100" dirty="0">
                          <a:effectLst/>
                        </a:rPr>
                        <a:t> </a:t>
                      </a:r>
                      <a:r>
                        <a:rPr lang="fr-BE" sz="1100" dirty="0" err="1">
                          <a:effectLst/>
                        </a:rPr>
                        <a:t>legitimacy</a:t>
                      </a:r>
                      <a:r>
                        <a:rPr lang="fr-BE" sz="1100" dirty="0">
                          <a:effectLst/>
                        </a:rPr>
                        <a:t> and </a:t>
                      </a:r>
                      <a:r>
                        <a:rPr lang="fr-BE" sz="1100" dirty="0" err="1">
                          <a:effectLst/>
                        </a:rPr>
                        <a:t>specification</a:t>
                      </a:r>
                      <a:endParaRPr lang="fr-BE" sz="1200" dirty="0">
                        <a:solidFill>
                          <a:srgbClr val="000000"/>
                        </a:solidFill>
                        <a:effectLst/>
                        <a:latin typeface="Tahoma"/>
                        <a:ea typeface="Times New Roman"/>
                      </a:endParaRPr>
                    </a:p>
                  </a:txBody>
                  <a:tcPr marL="81113" marR="81113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r-BE" sz="1100" dirty="0">
                          <a:effectLst/>
                        </a:rPr>
                        <a:t>Légitimité et communication de la finalité des traitements</a:t>
                      </a:r>
                      <a:endParaRPr lang="fr-BE" sz="1200" dirty="0">
                        <a:solidFill>
                          <a:srgbClr val="000000"/>
                        </a:solidFill>
                        <a:effectLst/>
                        <a:latin typeface="Tahoma"/>
                        <a:ea typeface="Times New Roman"/>
                      </a:endParaRPr>
                    </a:p>
                  </a:txBody>
                  <a:tcPr marL="81113" marR="81113" marT="0" marB="0"/>
                </a:tc>
              </a:tr>
              <a:tr h="654142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r-BE" sz="1100">
                          <a:effectLst/>
                        </a:rPr>
                        <a:t>Collecte limitation</a:t>
                      </a:r>
                      <a:endParaRPr lang="fr-BE" sz="1200">
                        <a:solidFill>
                          <a:srgbClr val="000000"/>
                        </a:solidFill>
                        <a:effectLst/>
                        <a:latin typeface="Tahoma"/>
                        <a:ea typeface="Times New Roman"/>
                      </a:endParaRPr>
                    </a:p>
                  </a:txBody>
                  <a:tcPr marL="81113" marR="81113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r-BE" sz="1100">
                          <a:effectLst/>
                        </a:rPr>
                        <a:t>Données collectées adéquates, pertinentes et non excessives au regard de la finalité</a:t>
                      </a:r>
                      <a:endParaRPr lang="fr-BE" sz="1200">
                        <a:solidFill>
                          <a:srgbClr val="000000"/>
                        </a:solidFill>
                        <a:effectLst/>
                        <a:latin typeface="Tahoma"/>
                        <a:ea typeface="Times New Roman"/>
                      </a:endParaRPr>
                    </a:p>
                  </a:txBody>
                  <a:tcPr marL="81113" marR="81113" marT="0" marB="0"/>
                </a:tc>
              </a:tr>
              <a:tr h="308017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r-BE" sz="1100">
                          <a:effectLst/>
                        </a:rPr>
                        <a:t>Data minimization</a:t>
                      </a:r>
                      <a:endParaRPr lang="fr-BE" sz="1200">
                        <a:solidFill>
                          <a:srgbClr val="000000"/>
                        </a:solidFill>
                        <a:effectLst/>
                        <a:latin typeface="Tahoma"/>
                        <a:ea typeface="Times New Roman"/>
                      </a:endParaRPr>
                    </a:p>
                  </a:txBody>
                  <a:tcPr marL="81113" marR="81113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r-BE" sz="1100">
                          <a:effectLst/>
                        </a:rPr>
                        <a:t>Données utilisées minimisées et cloisonnées</a:t>
                      </a:r>
                      <a:endParaRPr lang="fr-BE" sz="1200">
                        <a:solidFill>
                          <a:srgbClr val="000000"/>
                        </a:solidFill>
                        <a:effectLst/>
                        <a:latin typeface="Tahoma"/>
                        <a:ea typeface="Times New Roman"/>
                      </a:endParaRPr>
                    </a:p>
                  </a:txBody>
                  <a:tcPr marL="81113" marR="81113" marT="0" marB="0"/>
                </a:tc>
              </a:tr>
              <a:tr h="654142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r-BE" sz="1100">
                          <a:effectLst/>
                        </a:rPr>
                        <a:t>Use, retention, and disclosure limitation</a:t>
                      </a:r>
                      <a:endParaRPr lang="fr-BE" sz="1200">
                        <a:solidFill>
                          <a:srgbClr val="000000"/>
                        </a:solidFill>
                        <a:effectLst/>
                        <a:latin typeface="Tahoma"/>
                        <a:ea typeface="Times New Roman"/>
                      </a:endParaRPr>
                    </a:p>
                  </a:txBody>
                  <a:tcPr marL="81113" marR="81113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r-BE" sz="1100">
                          <a:effectLst/>
                        </a:rPr>
                        <a:t>Traitement, conservation et diffusion de données limités</a:t>
                      </a:r>
                      <a:endParaRPr lang="fr-BE" sz="1200">
                        <a:solidFill>
                          <a:srgbClr val="000000"/>
                        </a:solidFill>
                        <a:effectLst/>
                        <a:latin typeface="Tahoma"/>
                        <a:ea typeface="Times New Roman"/>
                      </a:endParaRPr>
                    </a:p>
                  </a:txBody>
                  <a:tcPr marL="81113" marR="81113" marT="0" marB="0"/>
                </a:tc>
              </a:tr>
              <a:tr h="308017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r-BE" sz="1100">
                          <a:effectLst/>
                        </a:rPr>
                        <a:t>Accuracy and quality</a:t>
                      </a:r>
                      <a:endParaRPr lang="fr-BE" sz="1200">
                        <a:solidFill>
                          <a:srgbClr val="000000"/>
                        </a:solidFill>
                        <a:effectLst/>
                        <a:latin typeface="Tahoma"/>
                        <a:ea typeface="Times New Roman"/>
                      </a:endParaRPr>
                    </a:p>
                  </a:txBody>
                  <a:tcPr marL="81113" marR="81113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r-BE" sz="1100">
                          <a:effectLst/>
                        </a:rPr>
                        <a:t>Données exactes, complètes et tenues à jour</a:t>
                      </a:r>
                      <a:endParaRPr lang="fr-BE" sz="1200">
                        <a:solidFill>
                          <a:srgbClr val="000000"/>
                        </a:solidFill>
                        <a:effectLst/>
                        <a:latin typeface="Tahoma"/>
                        <a:ea typeface="Times New Roman"/>
                      </a:endParaRPr>
                    </a:p>
                  </a:txBody>
                  <a:tcPr marL="81113" marR="81113" marT="0" marB="0"/>
                </a:tc>
              </a:tr>
              <a:tr h="308017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r-BE" sz="1100">
                          <a:effectLst/>
                        </a:rPr>
                        <a:t>Openness, transparency and notice</a:t>
                      </a:r>
                      <a:endParaRPr lang="fr-BE" sz="1200">
                        <a:solidFill>
                          <a:srgbClr val="000000"/>
                        </a:solidFill>
                        <a:effectLst/>
                        <a:latin typeface="Tahoma"/>
                        <a:ea typeface="Times New Roman"/>
                      </a:endParaRPr>
                    </a:p>
                  </a:txBody>
                  <a:tcPr marL="81113" marR="81113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r-BE" sz="1100">
                          <a:effectLst/>
                        </a:rPr>
                        <a:t>Information complète des personnes concernées</a:t>
                      </a:r>
                      <a:endParaRPr lang="fr-BE" sz="1200">
                        <a:solidFill>
                          <a:srgbClr val="000000"/>
                        </a:solidFill>
                        <a:effectLst/>
                        <a:latin typeface="Tahoma"/>
                        <a:ea typeface="Times New Roman"/>
                      </a:endParaRPr>
                    </a:p>
                  </a:txBody>
                  <a:tcPr marL="81113" marR="81113" marT="0" marB="0"/>
                </a:tc>
              </a:tr>
              <a:tr h="308017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r-BE" sz="1100">
                          <a:effectLst/>
                        </a:rPr>
                        <a:t>Individual participation and access</a:t>
                      </a:r>
                      <a:endParaRPr lang="fr-BE" sz="1200">
                        <a:solidFill>
                          <a:srgbClr val="000000"/>
                        </a:solidFill>
                        <a:effectLst/>
                        <a:latin typeface="Tahoma"/>
                        <a:ea typeface="Times New Roman"/>
                      </a:endParaRPr>
                    </a:p>
                  </a:txBody>
                  <a:tcPr marL="81113" marR="81113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r-BE" sz="1100">
                          <a:effectLst/>
                        </a:rPr>
                        <a:t>Droit d’accès et de rectification des personnes concernées</a:t>
                      </a:r>
                      <a:endParaRPr lang="fr-BE" sz="1200">
                        <a:solidFill>
                          <a:srgbClr val="000000"/>
                        </a:solidFill>
                        <a:effectLst/>
                        <a:latin typeface="Tahoma"/>
                        <a:ea typeface="Times New Roman"/>
                      </a:endParaRPr>
                    </a:p>
                  </a:txBody>
                  <a:tcPr marL="81113" marR="81113" marT="0" marB="0"/>
                </a:tc>
              </a:tr>
              <a:tr h="308017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r-BE" sz="1100">
                          <a:effectLst/>
                        </a:rPr>
                        <a:t>Accountability</a:t>
                      </a:r>
                      <a:endParaRPr lang="fr-BE" sz="1200">
                        <a:solidFill>
                          <a:srgbClr val="000000"/>
                        </a:solidFill>
                        <a:effectLst/>
                        <a:latin typeface="Tahoma"/>
                        <a:ea typeface="Times New Roman"/>
                      </a:endParaRPr>
                    </a:p>
                  </a:txBody>
                  <a:tcPr marL="81113" marR="81113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r-BE" sz="1100">
                          <a:effectLst/>
                        </a:rPr>
                        <a:t>Capacité à gérer les données et à rendre compte</a:t>
                      </a:r>
                      <a:endParaRPr lang="fr-BE" sz="1200">
                        <a:solidFill>
                          <a:srgbClr val="000000"/>
                        </a:solidFill>
                        <a:effectLst/>
                        <a:latin typeface="Tahoma"/>
                        <a:ea typeface="Times New Roman"/>
                      </a:endParaRPr>
                    </a:p>
                  </a:txBody>
                  <a:tcPr marL="81113" marR="81113" marT="0" marB="0"/>
                </a:tc>
              </a:tr>
              <a:tr h="308017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r-BE" sz="1100">
                          <a:effectLst/>
                        </a:rPr>
                        <a:t>Information security</a:t>
                      </a:r>
                      <a:endParaRPr lang="fr-BE" sz="1200">
                        <a:solidFill>
                          <a:srgbClr val="000000"/>
                        </a:solidFill>
                        <a:effectLst/>
                        <a:latin typeface="Tahoma"/>
                        <a:ea typeface="Times New Roman"/>
                      </a:endParaRPr>
                    </a:p>
                  </a:txBody>
                  <a:tcPr marL="81113" marR="81113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r-BE" sz="1100">
                          <a:effectLst/>
                        </a:rPr>
                        <a:t>Sécurité des données</a:t>
                      </a:r>
                      <a:endParaRPr lang="fr-BE" sz="1200">
                        <a:solidFill>
                          <a:srgbClr val="000000"/>
                        </a:solidFill>
                        <a:effectLst/>
                        <a:latin typeface="Tahoma"/>
                        <a:ea typeface="Times New Roman"/>
                      </a:endParaRPr>
                    </a:p>
                  </a:txBody>
                  <a:tcPr marL="81113" marR="81113" marT="0" marB="0"/>
                </a:tc>
              </a:tr>
              <a:tr h="308017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r-BE" sz="1100" dirty="0" err="1">
                          <a:effectLst/>
                        </a:rPr>
                        <a:t>Privacy</a:t>
                      </a:r>
                      <a:r>
                        <a:rPr lang="fr-BE" sz="1100" dirty="0">
                          <a:effectLst/>
                        </a:rPr>
                        <a:t> compliance</a:t>
                      </a:r>
                      <a:endParaRPr lang="fr-BE" sz="1200" dirty="0">
                        <a:solidFill>
                          <a:srgbClr val="000000"/>
                        </a:solidFill>
                        <a:effectLst/>
                        <a:latin typeface="Tahoma"/>
                        <a:ea typeface="Times New Roman"/>
                      </a:endParaRPr>
                    </a:p>
                  </a:txBody>
                  <a:tcPr marL="81113" marR="81113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r-BE" sz="1100" dirty="0">
                          <a:effectLst/>
                        </a:rPr>
                        <a:t>Gestion des risques et contrôle continu</a:t>
                      </a:r>
                      <a:endParaRPr lang="fr-BE" sz="1200" dirty="0">
                        <a:solidFill>
                          <a:srgbClr val="000000"/>
                        </a:solidFill>
                        <a:effectLst/>
                        <a:latin typeface="Tahoma"/>
                        <a:ea typeface="Times New Roman"/>
                      </a:endParaRPr>
                    </a:p>
                  </a:txBody>
                  <a:tcPr marL="81113" marR="81113" marT="0" marB="0"/>
                </a:tc>
              </a:tr>
            </a:tbl>
          </a:graphicData>
        </a:graphic>
      </p:graphicFrame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1612900" y="1851025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alt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1248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347864" y="2276872"/>
            <a:ext cx="5338936" cy="1354217"/>
          </a:xfrm>
        </p:spPr>
        <p:txBody>
          <a:bodyPr/>
          <a:lstStyle/>
          <a:p>
            <a:r>
              <a:rPr lang="fr-BE" sz="4000" dirty="0" smtClean="0"/>
              <a:t>LA GDPR </a:t>
            </a:r>
          </a:p>
          <a:p>
            <a:r>
              <a:rPr lang="fr-BE" sz="4000" dirty="0" smtClean="0"/>
              <a:t>Plantons le décor</a:t>
            </a:r>
            <a:endParaRPr lang="fr-BE" sz="40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FE98F54-9420-4909-AC22-B52239C56BEB}" type="slidenum">
              <a:rPr lang="fr-BE" smtClean="0"/>
              <a:pPr>
                <a:defRPr/>
              </a:pPr>
              <a:t>2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364851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fr-BE" sz="2800" dirty="0" smtClean="0"/>
              <a:t>La protection des données en fonction des usages</a:t>
            </a:r>
            <a:r>
              <a:rPr lang="fr-BE" sz="3200" dirty="0" smtClean="0"/>
              <a:t/>
            </a:r>
            <a:br>
              <a:rPr lang="fr-BE" sz="3200" dirty="0" smtClean="0"/>
            </a:br>
            <a:endParaRPr lang="fr-BE" sz="2800" dirty="0"/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1612900" y="1851025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alt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Espace réservé du contenu 5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592" y="980728"/>
            <a:ext cx="7544077" cy="4371950"/>
          </a:xfrm>
        </p:spPr>
      </p:pic>
    </p:spTree>
    <p:extLst>
      <p:ext uri="{BB962C8B-B14F-4D97-AF65-F5344CB8AC3E}">
        <p14:creationId xmlns:p14="http://schemas.microsoft.com/office/powerpoint/2010/main" val="3144078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512" y="107340"/>
            <a:ext cx="8280920" cy="738664"/>
          </a:xfrm>
        </p:spPr>
        <p:txBody>
          <a:bodyPr/>
          <a:lstStyle/>
          <a:p>
            <a:r>
              <a:rPr lang="fr-BE" dirty="0" smtClean="0"/>
              <a:t>Modèle d’exigences – mesures organisationnelles et techniques</a:t>
            </a:r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E023587-1241-4C30-8F04-DE527417392D}" type="slidenum">
              <a:rPr lang="fr-BE" smtClean="0"/>
              <a:pPr>
                <a:defRPr/>
              </a:pPr>
              <a:t>21</a:t>
            </a:fld>
            <a:endParaRPr lang="fr-BE" dirty="0"/>
          </a:p>
        </p:txBody>
      </p:sp>
      <p:pic>
        <p:nvPicPr>
          <p:cNvPr id="307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764704"/>
            <a:ext cx="6840760" cy="55371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16958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E023587-1241-4C30-8F04-DE527417392D}" type="slidenum">
              <a:rPr lang="fr-BE" smtClean="0"/>
              <a:pPr>
                <a:defRPr/>
              </a:pPr>
              <a:t>22</a:t>
            </a:fld>
            <a:endParaRPr lang="fr-BE" dirty="0"/>
          </a:p>
        </p:txBody>
      </p:sp>
      <p:pic>
        <p:nvPicPr>
          <p:cNvPr id="307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6635"/>
            <a:ext cx="7200800" cy="6520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42096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E023587-1241-4C30-8F04-DE527417392D}" type="slidenum">
              <a:rPr lang="fr-BE" smtClean="0"/>
              <a:pPr>
                <a:defRPr/>
              </a:pPr>
              <a:t>23</a:t>
            </a:fld>
            <a:endParaRPr lang="fr-BE" dirty="0"/>
          </a:p>
        </p:txBody>
      </p:sp>
      <p:pic>
        <p:nvPicPr>
          <p:cNvPr id="409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717688"/>
            <a:ext cx="7560839" cy="5092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03834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63888" y="2276872"/>
            <a:ext cx="4752528" cy="553998"/>
          </a:xfrm>
        </p:spPr>
        <p:txBody>
          <a:bodyPr/>
          <a:lstStyle/>
          <a:p>
            <a:r>
              <a:rPr lang="fr-BE" sz="3600" dirty="0" smtClean="0"/>
              <a:t>GDPR à vous de jouer </a:t>
            </a:r>
            <a:r>
              <a:rPr lang="fr-BE" sz="3600" dirty="0"/>
              <a:t>…</a:t>
            </a:r>
            <a:endParaRPr lang="fr-BE" sz="32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FE98F54-9420-4909-AC22-B52239C56BEB}" type="slidenum">
              <a:rPr lang="fr-BE" smtClean="0"/>
              <a:pPr>
                <a:defRPr/>
              </a:pPr>
              <a:t>24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4168702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11560" y="476672"/>
            <a:ext cx="7643688" cy="369332"/>
          </a:xfrm>
        </p:spPr>
        <p:txBody>
          <a:bodyPr>
            <a:normAutofit/>
          </a:bodyPr>
          <a:lstStyle/>
          <a:p>
            <a:r>
              <a:rPr lang="fr-BE" dirty="0" smtClean="0"/>
              <a:t>Conclusion</a:t>
            </a:r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E023587-1241-4C30-8F04-DE527417392D}" type="slidenum">
              <a:rPr lang="fr-BE" smtClean="0"/>
              <a:pPr>
                <a:defRPr/>
              </a:pPr>
              <a:t>25</a:t>
            </a:fld>
            <a:endParaRPr lang="fr-BE" dirty="0"/>
          </a:p>
        </p:txBody>
      </p:sp>
      <p:sp>
        <p:nvSpPr>
          <p:cNvPr id="3" name="ZoneTexte 2"/>
          <p:cNvSpPr txBox="1"/>
          <p:nvPr/>
        </p:nvSpPr>
        <p:spPr>
          <a:xfrm>
            <a:off x="323528" y="1340768"/>
            <a:ext cx="8640514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BE" sz="3200" b="1" dirty="0" smtClean="0"/>
              <a:t>La GDPR </a:t>
            </a:r>
          </a:p>
          <a:p>
            <a:pPr algn="ctr"/>
            <a:r>
              <a:rPr lang="fr-BE" sz="3200" b="1" dirty="0" smtClean="0"/>
              <a:t>En Quatre processus incontournables</a:t>
            </a:r>
          </a:p>
          <a:p>
            <a:pPr algn="ctr"/>
            <a:endParaRPr lang="fr-BE" dirty="0" smtClean="0"/>
          </a:p>
          <a:p>
            <a:pPr algn="ctr"/>
            <a:endParaRPr lang="fr-BE" dirty="0"/>
          </a:p>
          <a:p>
            <a:endParaRPr lang="fr-BE" sz="2000" b="1" dirty="0" smtClean="0"/>
          </a:p>
          <a:p>
            <a:pPr marL="457200" indent="-457200">
              <a:buFont typeface="+mj-lt"/>
              <a:buAutoNum type="arabicPeriod"/>
            </a:pPr>
            <a:r>
              <a:rPr lang="fr-BE" sz="2000" b="1" dirty="0" smtClean="0"/>
              <a:t>Maintenir </a:t>
            </a:r>
            <a:r>
              <a:rPr lang="fr-BE" sz="2000" b="1" dirty="0"/>
              <a:t>un registre institutionnel des traitements </a:t>
            </a:r>
            <a:r>
              <a:rPr lang="fr-BE" sz="2000" b="1" dirty="0" smtClean="0"/>
              <a:t>reconnus</a:t>
            </a:r>
          </a:p>
          <a:p>
            <a:pPr marL="457200" indent="-457200">
              <a:buFont typeface="+mj-lt"/>
              <a:buAutoNum type="arabicPeriod"/>
            </a:pPr>
            <a:endParaRPr lang="fr-BE" sz="2000" b="1" dirty="0" smtClean="0"/>
          </a:p>
          <a:p>
            <a:pPr marL="457200" indent="-457200">
              <a:buFont typeface="+mj-lt"/>
              <a:buAutoNum type="arabicPeriod"/>
            </a:pPr>
            <a:r>
              <a:rPr lang="fr-BE" sz="2000" b="1" dirty="0" smtClean="0"/>
              <a:t>Systématiser </a:t>
            </a:r>
            <a:r>
              <a:rPr lang="fr-BE" sz="2000" b="1" dirty="0"/>
              <a:t>et généraliser la </a:t>
            </a:r>
            <a:r>
              <a:rPr lang="fr-BE" sz="2000" b="1" dirty="0" smtClean="0"/>
              <a:t>« certification </a:t>
            </a:r>
            <a:r>
              <a:rPr lang="fr-BE" sz="2000" b="1" dirty="0"/>
              <a:t>interne des </a:t>
            </a:r>
            <a:r>
              <a:rPr lang="fr-BE" sz="2000" b="1" dirty="0" smtClean="0"/>
              <a:t>traitements »</a:t>
            </a:r>
          </a:p>
          <a:p>
            <a:pPr marL="457200" indent="-457200">
              <a:buFont typeface="+mj-lt"/>
              <a:buAutoNum type="arabicPeriod"/>
            </a:pPr>
            <a:endParaRPr lang="fr-BE" sz="2000" b="1" dirty="0" smtClean="0"/>
          </a:p>
          <a:p>
            <a:pPr marL="457200" indent="-457200">
              <a:buFont typeface="+mj-lt"/>
              <a:buAutoNum type="arabicPeriod"/>
            </a:pPr>
            <a:r>
              <a:rPr lang="fr-BE" sz="2000" b="1" dirty="0" smtClean="0"/>
              <a:t>Limiter l’impact d’un éventuel incident (SOC + Incident team et assurance)</a:t>
            </a:r>
          </a:p>
          <a:p>
            <a:pPr marL="457200" indent="-457200">
              <a:buFont typeface="+mj-lt"/>
              <a:buAutoNum type="arabicPeriod"/>
            </a:pPr>
            <a:endParaRPr lang="fr-BE" sz="2000" b="1" dirty="0" smtClean="0"/>
          </a:p>
          <a:p>
            <a:pPr marL="457200" indent="-457200">
              <a:buFont typeface="+mj-lt"/>
              <a:buAutoNum type="arabicPeriod"/>
            </a:pPr>
            <a:r>
              <a:rPr lang="fr-BE" sz="2000" b="1" dirty="0" smtClean="0"/>
              <a:t>Entretenir une </a:t>
            </a:r>
            <a:r>
              <a:rPr lang="fr-BE" sz="2000" b="1" u="sng" dirty="0" smtClean="0"/>
              <a:t>culture</a:t>
            </a:r>
            <a:r>
              <a:rPr lang="fr-BE" sz="2000" b="1" dirty="0" smtClean="0"/>
              <a:t> d’entreprise (</a:t>
            </a:r>
            <a:r>
              <a:rPr lang="fr-BE" sz="2000" b="1" u="sng" dirty="0" smtClean="0"/>
              <a:t>la sécurité au quotidien</a:t>
            </a:r>
            <a:r>
              <a:rPr lang="fr-BE" sz="2000" b="1" dirty="0" smtClean="0"/>
              <a:t>)</a:t>
            </a:r>
            <a:endParaRPr lang="fr-BE" sz="2000" dirty="0"/>
          </a:p>
        </p:txBody>
      </p:sp>
    </p:spTree>
    <p:extLst>
      <p:ext uri="{BB962C8B-B14F-4D97-AF65-F5344CB8AC3E}">
        <p14:creationId xmlns:p14="http://schemas.microsoft.com/office/powerpoint/2010/main" val="2010628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BE" dirty="0" smtClean="0"/>
              <a:t>CONCLUSION</a:t>
            </a:r>
            <a:endParaRPr lang="fr-BE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79388" y="857250"/>
            <a:ext cx="8856538" cy="4228850"/>
          </a:xfrm>
        </p:spPr>
        <p:txBody>
          <a:bodyPr/>
          <a:lstStyle/>
          <a:p>
            <a:pPr algn="ctr"/>
            <a:r>
              <a:rPr lang="fr-BE" sz="1800" dirty="0"/>
              <a:t>Etre GDPR </a:t>
            </a:r>
            <a:r>
              <a:rPr lang="fr-BE" sz="1800" dirty="0" smtClean="0"/>
              <a:t>COMPLIANT =  </a:t>
            </a:r>
          </a:p>
          <a:p>
            <a:pPr algn="ctr"/>
            <a:r>
              <a:rPr lang="fr-BE" sz="1800" dirty="0" smtClean="0"/>
              <a:t>Culture d’entreprise</a:t>
            </a:r>
          </a:p>
          <a:p>
            <a:pPr algn="ctr"/>
            <a:r>
              <a:rPr lang="fr-BE" sz="1800" dirty="0" smtClean="0"/>
              <a:t>Par une </a:t>
            </a:r>
            <a:r>
              <a:rPr lang="fr-BE" sz="1800" b="1" dirty="0" smtClean="0"/>
              <a:t>approche systématique </a:t>
            </a:r>
            <a:r>
              <a:rPr lang="fr-BE" sz="1800" b="1" dirty="0"/>
              <a:t>et </a:t>
            </a:r>
            <a:r>
              <a:rPr lang="fr-BE" sz="1800" b="1" dirty="0" smtClean="0"/>
              <a:t>institutionnelle</a:t>
            </a:r>
          </a:p>
          <a:p>
            <a:pPr algn="ctr"/>
            <a:r>
              <a:rPr lang="fr-BE" sz="1800" dirty="0" smtClean="0"/>
              <a:t>de </a:t>
            </a:r>
            <a:r>
              <a:rPr lang="fr-BE" sz="1800" dirty="0"/>
              <a:t>la protection des données</a:t>
            </a:r>
          </a:p>
          <a:p>
            <a:endParaRPr lang="fr-BE" sz="1800" dirty="0" smtClean="0"/>
          </a:p>
          <a:p>
            <a:pPr algn="ctr"/>
            <a:endParaRPr lang="fr-BE" sz="1800" dirty="0"/>
          </a:p>
          <a:p>
            <a:pPr algn="ctr"/>
            <a:r>
              <a:rPr lang="fr-BE" sz="1800" i="1" dirty="0"/>
              <a:t>« La protection des données n’est plus seulement </a:t>
            </a:r>
            <a:endParaRPr lang="fr-BE" sz="1800" i="1" dirty="0" smtClean="0"/>
          </a:p>
          <a:p>
            <a:pPr algn="ctr"/>
            <a:r>
              <a:rPr lang="fr-BE" sz="1800" i="1" dirty="0" smtClean="0"/>
              <a:t>une </a:t>
            </a:r>
            <a:r>
              <a:rPr lang="fr-BE" sz="1800" i="1" dirty="0"/>
              <a:t>question de mise en œuvre de mécanismes techniques</a:t>
            </a:r>
          </a:p>
          <a:p>
            <a:pPr algn="ctr"/>
            <a:endParaRPr lang="fr-BE" sz="1800" i="1" dirty="0"/>
          </a:p>
          <a:p>
            <a:pPr algn="ctr"/>
            <a:r>
              <a:rPr lang="fr-BE" sz="1800" i="1" dirty="0"/>
              <a:t>C’est une question de gestion stratégique des </a:t>
            </a:r>
            <a:r>
              <a:rPr lang="fr-BE" sz="1800" i="1" dirty="0" smtClean="0"/>
              <a:t>données</a:t>
            </a:r>
          </a:p>
          <a:p>
            <a:pPr algn="ctr"/>
            <a:r>
              <a:rPr lang="fr-BE" sz="1800" i="1" dirty="0" smtClean="0"/>
              <a:t>Basée </a:t>
            </a:r>
            <a:r>
              <a:rPr lang="fr-BE" sz="1800" i="1" dirty="0"/>
              <a:t>sur une étude permanente du </a:t>
            </a:r>
            <a:r>
              <a:rPr lang="fr-BE" sz="1800" i="1" dirty="0" smtClean="0"/>
              <a:t>risque</a:t>
            </a:r>
          </a:p>
          <a:p>
            <a:pPr algn="ctr"/>
            <a:r>
              <a:rPr lang="fr-BE" sz="1800" i="1" dirty="0" smtClean="0"/>
              <a:t>Basée sur le respect individuel et collectif des règles.»</a:t>
            </a:r>
            <a:endParaRPr lang="fr-BE" sz="1800" i="1" dirty="0"/>
          </a:p>
          <a:p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E023587-1241-4C30-8F04-DE527417392D}" type="slidenum">
              <a:rPr lang="fr-BE" smtClean="0"/>
              <a:pPr>
                <a:defRPr/>
              </a:pPr>
              <a:t>26</a:t>
            </a:fld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18365726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512" y="107340"/>
            <a:ext cx="7643688" cy="369332"/>
          </a:xfrm>
        </p:spPr>
        <p:txBody>
          <a:bodyPr/>
          <a:lstStyle/>
          <a:p>
            <a:r>
              <a:rPr lang="fr-BE" dirty="0" smtClean="0"/>
              <a:t>GDPR –  nouvelle réglementation… Pourquoi</a:t>
            </a:r>
            <a:endParaRPr lang="fr-BE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1579" y="908720"/>
            <a:ext cx="8856538" cy="5690789"/>
          </a:xfrm>
        </p:spPr>
        <p:txBody>
          <a:bodyPr/>
          <a:lstStyle/>
          <a:p>
            <a:pPr algn="ctr"/>
            <a:r>
              <a:rPr lang="fr-BE" sz="2000" i="1" dirty="0"/>
              <a:t>Dans le viseur de l’EU : les GAFA, les sociétés </a:t>
            </a:r>
            <a:r>
              <a:rPr lang="fr-BE" sz="2000" i="1" dirty="0" smtClean="0"/>
              <a:t>commerciales, </a:t>
            </a:r>
          </a:p>
          <a:p>
            <a:pPr algn="ctr"/>
            <a:r>
              <a:rPr lang="fr-BE" sz="2000" i="1" dirty="0" smtClean="0"/>
              <a:t>le </a:t>
            </a:r>
            <a:r>
              <a:rPr lang="fr-BE" sz="2000" i="1" dirty="0"/>
              <a:t>marketing « agressif </a:t>
            </a:r>
            <a:r>
              <a:rPr lang="fr-BE" sz="2000" i="1" dirty="0" smtClean="0"/>
              <a:t>», le « </a:t>
            </a:r>
            <a:r>
              <a:rPr lang="fr-BE" sz="2000" i="1" dirty="0" err="1" smtClean="0"/>
              <a:t>big</a:t>
            </a:r>
            <a:r>
              <a:rPr lang="fr-BE" sz="2000" i="1" dirty="0" smtClean="0"/>
              <a:t> data », l’éparpillement de l’info, </a:t>
            </a:r>
          </a:p>
          <a:p>
            <a:pPr algn="ctr"/>
            <a:r>
              <a:rPr lang="fr-BE" sz="2000" i="1" dirty="0" smtClean="0"/>
              <a:t>L’usage détourné, le vol et fuite de données</a:t>
            </a:r>
          </a:p>
          <a:p>
            <a:pPr algn="ctr"/>
            <a:endParaRPr lang="fr-BE" sz="2400" i="1" dirty="0"/>
          </a:p>
          <a:p>
            <a:pPr algn="ctr">
              <a:spcBef>
                <a:spcPts val="0"/>
              </a:spcBef>
            </a:pPr>
            <a:r>
              <a:rPr lang="fr-BE" sz="2400" i="1" dirty="0" smtClean="0"/>
              <a:t>Objectif </a:t>
            </a:r>
            <a:r>
              <a:rPr lang="fr-BE" sz="2400" i="1" dirty="0" smtClean="0"/>
              <a:t>: Susciter la confiance des personnes</a:t>
            </a:r>
          </a:p>
          <a:p>
            <a:pPr algn="ctr"/>
            <a:r>
              <a:rPr lang="fr-BE" sz="2400" i="1" dirty="0" smtClean="0"/>
              <a:t>Par le traitement de façon sûre </a:t>
            </a:r>
          </a:p>
          <a:p>
            <a:pPr algn="ctr"/>
            <a:r>
              <a:rPr lang="fr-BE" sz="2400" i="1" dirty="0" smtClean="0"/>
              <a:t>de leurs données à caractère personnel</a:t>
            </a:r>
          </a:p>
          <a:p>
            <a:pPr algn="ctr">
              <a:spcBef>
                <a:spcPts val="200"/>
              </a:spcBef>
            </a:pPr>
            <a:r>
              <a:rPr lang="fr-BE" sz="2000" i="1" dirty="0" smtClean="0"/>
              <a:t>Notion de Traitement comprend  collecte, consultation, utilisation, </a:t>
            </a:r>
          </a:p>
          <a:p>
            <a:pPr algn="ctr">
              <a:spcBef>
                <a:spcPts val="200"/>
              </a:spcBef>
            </a:pPr>
            <a:r>
              <a:rPr lang="fr-BE" sz="2000" i="1" dirty="0" smtClean="0"/>
              <a:t>stockage, communication, diffusion, effacement, archivage… </a:t>
            </a:r>
          </a:p>
          <a:p>
            <a:pPr algn="ctr">
              <a:spcBef>
                <a:spcPts val="200"/>
              </a:spcBef>
            </a:pPr>
            <a:r>
              <a:rPr lang="fr-BE" sz="2000" i="1" dirty="0" err="1" smtClean="0"/>
              <a:t>DaCP</a:t>
            </a:r>
            <a:r>
              <a:rPr lang="fr-BE" sz="2000" i="1" dirty="0" smtClean="0"/>
              <a:t>= « toute </a:t>
            </a:r>
            <a:r>
              <a:rPr lang="fr-BE" sz="2000" i="1" dirty="0"/>
              <a:t>information ou groupement d'information </a:t>
            </a:r>
            <a:endParaRPr lang="fr-BE" sz="2000" i="1" dirty="0" smtClean="0"/>
          </a:p>
          <a:p>
            <a:pPr algn="ctr"/>
            <a:r>
              <a:rPr lang="fr-BE" sz="2000" i="1" dirty="0" smtClean="0"/>
              <a:t>qui identifie ou rend identifiable une personne »</a:t>
            </a:r>
          </a:p>
          <a:p>
            <a:pPr algn="ctr"/>
            <a:endParaRPr lang="fr-BE" sz="2000" i="1" dirty="0"/>
          </a:p>
          <a:p>
            <a:pPr algn="ctr"/>
            <a:r>
              <a:rPr lang="fr-BE" sz="1800" dirty="0" err="1" smtClean="0"/>
              <a:t>Exples</a:t>
            </a:r>
            <a:r>
              <a:rPr lang="fr-BE" sz="1800" dirty="0" smtClean="0"/>
              <a:t>: identité, photo, NISS, adresse</a:t>
            </a:r>
            <a:r>
              <a:rPr lang="fr-BE" sz="1800" dirty="0"/>
              <a:t>, </a:t>
            </a:r>
            <a:r>
              <a:rPr lang="fr-BE" sz="1800" dirty="0" err="1"/>
              <a:t>n°gsm</a:t>
            </a:r>
            <a:r>
              <a:rPr lang="fr-BE" sz="1800" dirty="0"/>
              <a:t>, </a:t>
            </a:r>
            <a:r>
              <a:rPr lang="fr-BE" sz="1800" dirty="0" smtClean="0"/>
              <a:t>plaque </a:t>
            </a:r>
            <a:r>
              <a:rPr lang="fr-BE" sz="1800" dirty="0"/>
              <a:t>de voiture, </a:t>
            </a:r>
          </a:p>
          <a:p>
            <a:pPr algn="ctr"/>
            <a:r>
              <a:rPr lang="fr-BE" sz="1800" dirty="0"/>
              <a:t>n° de matricule, n° administratif, </a:t>
            </a:r>
            <a:r>
              <a:rPr lang="fr-BE" sz="1800" dirty="0" smtClean="0"/>
              <a:t>n° client, n° abonné, adresse </a:t>
            </a:r>
            <a:r>
              <a:rPr lang="fr-BE" sz="1800" dirty="0"/>
              <a:t>mail, </a:t>
            </a:r>
            <a:r>
              <a:rPr lang="fr-BE" sz="1800" dirty="0" smtClean="0"/>
              <a:t>adresse IP, </a:t>
            </a:r>
          </a:p>
          <a:p>
            <a:pPr algn="ctr"/>
            <a:r>
              <a:rPr lang="fr-BE" sz="1800" dirty="0" smtClean="0"/>
              <a:t>Fonction, « le participant de chez XXX à la réunion », …</a:t>
            </a:r>
            <a:endParaRPr lang="fr-BE" sz="18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E023587-1241-4C30-8F04-DE527417392D}" type="slidenum">
              <a:rPr lang="fr-BE" smtClean="0"/>
              <a:pPr>
                <a:defRPr/>
              </a:pPr>
              <a:t>3</a:t>
            </a:fld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3916383242"/>
      </p:ext>
    </p:extLst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6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5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8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1" dur="500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4" dur="500"/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smtClean="0"/>
              <a:t>Evolution du cadre juridique</a:t>
            </a:r>
            <a:endParaRPr lang="fr-BE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79512" y="620688"/>
            <a:ext cx="8856538" cy="4087273"/>
          </a:xfrm>
        </p:spPr>
        <p:txBody>
          <a:bodyPr/>
          <a:lstStyle/>
          <a:p>
            <a:r>
              <a:rPr lang="fr-BE" dirty="0"/>
              <a:t>Publication </a:t>
            </a:r>
            <a:r>
              <a:rPr lang="fr-BE" dirty="0" smtClean="0"/>
              <a:t>27/04/2016  -  Application </a:t>
            </a:r>
            <a:r>
              <a:rPr lang="fr-BE" dirty="0"/>
              <a:t>au 25/05/2018</a:t>
            </a:r>
          </a:p>
          <a:p>
            <a:r>
              <a:rPr lang="fr-BE" dirty="0"/>
              <a:t>Pour phase transition : reste d’application Directive EU/95/46 traduite dans le LVP 8/12/1992</a:t>
            </a:r>
          </a:p>
          <a:p>
            <a:r>
              <a:rPr lang="fr-BE" dirty="0" smtClean="0"/>
              <a:t>Harmonisation </a:t>
            </a:r>
            <a:r>
              <a:rPr lang="fr-BE" dirty="0"/>
              <a:t>minimale pou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dirty="0"/>
              <a:t>Traitement licite des données à caractère personn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dirty="0"/>
              <a:t>Sécurité des réseaux et des systèmes d’inform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dirty="0"/>
              <a:t>Protocole d’échange des données (dans et hors de l’EU)</a:t>
            </a:r>
          </a:p>
          <a:p>
            <a:r>
              <a:rPr lang="fr-BE" dirty="0" smtClean="0"/>
              <a:t>S’applique </a:t>
            </a:r>
            <a:endParaRPr lang="fr-B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dirty="0"/>
              <a:t>A toute </a:t>
            </a:r>
            <a:r>
              <a:rPr lang="fr-BE" dirty="0" smtClean="0"/>
              <a:t>société  commerciale ou non   …. Donc université, hôpitaux, association,…</a:t>
            </a:r>
            <a:endParaRPr lang="fr-B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dirty="0"/>
              <a:t>A toutes les données numériques stockées, traitées, récupérées ou transmises</a:t>
            </a:r>
          </a:p>
          <a:p>
            <a:endParaRPr lang="fr-BE" dirty="0" smtClean="0"/>
          </a:p>
          <a:p>
            <a:r>
              <a:rPr lang="fr-BE" dirty="0" smtClean="0"/>
              <a:t>Etre attentif à certaines spécificités (loi recherche/stat/archive)</a:t>
            </a:r>
            <a:endParaRPr lang="fr-BE" dirty="0"/>
          </a:p>
          <a:p>
            <a:pPr algn="ctr"/>
            <a:r>
              <a:rPr lang="fr-BE" dirty="0" smtClean="0"/>
              <a:t> </a:t>
            </a:r>
            <a:r>
              <a:rPr lang="fr-BE" b="1" dirty="0" smtClean="0"/>
              <a:t>Mise en œuvre de la conformité est de la responsabilité de chaque « responsable de traitement </a:t>
            </a:r>
            <a:r>
              <a:rPr lang="fr-BE" b="1" dirty="0" smtClean="0"/>
              <a:t>»</a:t>
            </a:r>
          </a:p>
          <a:p>
            <a:pPr algn="ctr"/>
            <a:r>
              <a:rPr lang="fr-BE" b="1" dirty="0" smtClean="0"/>
              <a:t>Registre de traitement &amp; registre d’incidents – mesures de protection adéquate</a:t>
            </a:r>
            <a:endParaRPr lang="fr-BE" b="1" dirty="0" smtClean="0"/>
          </a:p>
          <a:p>
            <a:pPr algn="ctr"/>
            <a:r>
              <a:rPr lang="fr-BE" b="1" dirty="0" smtClean="0"/>
              <a:t>Il faut être conforme au 25 </a:t>
            </a:r>
            <a:r>
              <a:rPr lang="fr-BE" b="1" dirty="0"/>
              <a:t>mai </a:t>
            </a:r>
            <a:r>
              <a:rPr lang="fr-BE" b="1" dirty="0" smtClean="0"/>
              <a:t>2018</a:t>
            </a:r>
            <a:endParaRPr lang="fr-BE" b="1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E023587-1241-4C30-8F04-DE527417392D}" type="slidenum">
              <a:rPr lang="fr-BE" smtClean="0"/>
              <a:pPr>
                <a:defRPr/>
              </a:pPr>
              <a:t>4</a:t>
            </a:fld>
            <a:endParaRPr lang="fr-BE" dirty="0"/>
          </a:p>
        </p:txBody>
      </p:sp>
      <p:pic>
        <p:nvPicPr>
          <p:cNvPr id="5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4168" y="1268760"/>
            <a:ext cx="2325792" cy="864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ZoneTexte 5"/>
          <p:cNvSpPr txBox="1"/>
          <p:nvPr/>
        </p:nvSpPr>
        <p:spPr>
          <a:xfrm>
            <a:off x="1403648" y="4725144"/>
            <a:ext cx="64087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1600" dirty="0" smtClean="0"/>
              <a:t>Vise la Gestion </a:t>
            </a:r>
            <a:r>
              <a:rPr lang="fr-BE" sz="1600" dirty="0"/>
              <a:t>des données à caractère personnel (DACP)</a:t>
            </a:r>
          </a:p>
          <a:p>
            <a:pPr marL="285750" indent="-285750">
              <a:buFontTx/>
              <a:buChar char="-"/>
            </a:pPr>
            <a:r>
              <a:rPr lang="fr-BE" sz="1600" dirty="0" smtClean="0"/>
              <a:t>Données des collaborateurs  &amp; candidats (R.H., parking, carte sport</a:t>
            </a:r>
            <a:r>
              <a:rPr lang="fr-BE" sz="1600" dirty="0" smtClean="0"/>
              <a:t>,…)</a:t>
            </a:r>
          </a:p>
          <a:p>
            <a:pPr marL="285750" indent="-285750">
              <a:buFontTx/>
              <a:buChar char="-"/>
            </a:pPr>
            <a:r>
              <a:rPr lang="fr-BE" sz="1600" dirty="0" smtClean="0"/>
              <a:t>Données des patients, des pensionnaires (attention : tuteurs légaux,…)</a:t>
            </a:r>
            <a:endParaRPr lang="fr-BE" sz="1600" dirty="0" smtClean="0"/>
          </a:p>
          <a:p>
            <a:pPr marL="285750" indent="-285750">
              <a:buFontTx/>
              <a:buChar char="-"/>
            </a:pPr>
            <a:r>
              <a:rPr lang="fr-BE" sz="1600" dirty="0" smtClean="0"/>
              <a:t>Données </a:t>
            </a:r>
            <a:r>
              <a:rPr lang="fr-BE" sz="1600" dirty="0" smtClean="0"/>
              <a:t>de tiers (bibliothèque,  logement, les sujets d’une étude/d’une enquête, les participants à une </a:t>
            </a:r>
            <a:r>
              <a:rPr lang="fr-BE" sz="1600" dirty="0" smtClean="0"/>
              <a:t>manifestation/activité,  </a:t>
            </a:r>
            <a:r>
              <a:rPr lang="fr-BE" sz="1600" dirty="0"/>
              <a:t>tout </a:t>
            </a:r>
            <a:r>
              <a:rPr lang="fr-BE" sz="1600" dirty="0" smtClean="0"/>
              <a:t>partenaire économique  ou commercial (gestion achats), </a:t>
            </a:r>
            <a:r>
              <a:rPr lang="fr-BE" sz="1600" dirty="0"/>
              <a:t>.)</a:t>
            </a:r>
          </a:p>
        </p:txBody>
      </p:sp>
    </p:spTree>
    <p:extLst>
      <p:ext uri="{BB962C8B-B14F-4D97-AF65-F5344CB8AC3E}">
        <p14:creationId xmlns:p14="http://schemas.microsoft.com/office/powerpoint/2010/main" val="22445019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512" y="107340"/>
            <a:ext cx="7643688" cy="369332"/>
          </a:xfrm>
        </p:spPr>
        <p:txBody>
          <a:bodyPr/>
          <a:lstStyle/>
          <a:p>
            <a:r>
              <a:rPr lang="fr-BE" dirty="0" smtClean="0"/>
              <a:t>GDPR –  La théorie en une slide …</a:t>
            </a:r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E023587-1241-4C30-8F04-DE527417392D}" type="slidenum">
              <a:rPr lang="fr-BE" smtClean="0"/>
              <a:pPr>
                <a:defRPr/>
              </a:pPr>
              <a:t>5</a:t>
            </a:fld>
            <a:endParaRPr lang="fr-BE" dirty="0"/>
          </a:p>
        </p:txBody>
      </p:sp>
      <p:sp>
        <p:nvSpPr>
          <p:cNvPr id="5" name="ZoneTexte 4"/>
          <p:cNvSpPr txBox="1"/>
          <p:nvPr/>
        </p:nvSpPr>
        <p:spPr>
          <a:xfrm>
            <a:off x="323528" y="1124744"/>
            <a:ext cx="8424936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lvl="1">
              <a:buFont typeface="Wingdings" panose="05000000000000000000" pitchFamily="2" charset="2"/>
              <a:buChar char="q"/>
            </a:pPr>
            <a:r>
              <a:rPr lang="fr-BE" b="1" dirty="0" smtClean="0"/>
              <a:t>Intégrer l’approche « </a:t>
            </a:r>
            <a:r>
              <a:rPr lang="fr-BE" b="1" dirty="0" err="1" smtClean="0"/>
              <a:t>Privacy</a:t>
            </a:r>
            <a:r>
              <a:rPr lang="fr-BE" b="1" dirty="0" smtClean="0"/>
              <a:t> by Default » et « </a:t>
            </a:r>
            <a:r>
              <a:rPr lang="fr-BE" b="1" dirty="0" err="1" smtClean="0"/>
              <a:t>Privacy</a:t>
            </a:r>
            <a:r>
              <a:rPr lang="fr-BE" b="1" dirty="0" smtClean="0"/>
              <a:t> by Design »</a:t>
            </a:r>
          </a:p>
          <a:p>
            <a:pPr marL="571500" lvl="1">
              <a:buFont typeface="Wingdings" panose="05000000000000000000" pitchFamily="2" charset="2"/>
              <a:buChar char="q"/>
            </a:pPr>
            <a:r>
              <a:rPr lang="fr-BE" dirty="0" smtClean="0"/>
              <a:t>Principe de consentement  et d’exercice </a:t>
            </a:r>
            <a:r>
              <a:rPr lang="fr-BE" dirty="0"/>
              <a:t>de droits pour les individus</a:t>
            </a:r>
          </a:p>
          <a:p>
            <a:pPr marL="571500" lvl="1">
              <a:buFont typeface="Wingdings" panose="05000000000000000000" pitchFamily="2" charset="2"/>
              <a:buChar char="q"/>
            </a:pPr>
            <a:r>
              <a:rPr lang="fr-BE" dirty="0"/>
              <a:t>Principe de responsabilité, de transparence </a:t>
            </a:r>
            <a:endParaRPr lang="fr-BE" dirty="0" smtClean="0"/>
          </a:p>
          <a:p>
            <a:pPr marL="1028700" lvl="2">
              <a:buFont typeface="Wingdings" panose="05000000000000000000" pitchFamily="2" charset="2"/>
              <a:buChar char="q"/>
            </a:pPr>
            <a:r>
              <a:rPr lang="fr-BE" dirty="0"/>
              <a:t> </a:t>
            </a:r>
            <a:r>
              <a:rPr lang="fr-BE" dirty="0" smtClean="0"/>
              <a:t>rôles </a:t>
            </a:r>
            <a:r>
              <a:rPr lang="fr-BE" dirty="0"/>
              <a:t>des DATA </a:t>
            </a:r>
            <a:r>
              <a:rPr lang="fr-BE" dirty="0" err="1"/>
              <a:t>controllor</a:t>
            </a:r>
            <a:r>
              <a:rPr lang="fr-BE" dirty="0"/>
              <a:t>&amp; </a:t>
            </a:r>
            <a:r>
              <a:rPr lang="fr-BE" dirty="0" err="1"/>
              <a:t>operator</a:t>
            </a:r>
            <a:r>
              <a:rPr lang="fr-BE" dirty="0"/>
              <a:t>, du </a:t>
            </a:r>
            <a:r>
              <a:rPr lang="fr-BE" dirty="0" smtClean="0"/>
              <a:t>DPO</a:t>
            </a:r>
            <a:endParaRPr lang="fr-BE" dirty="0"/>
          </a:p>
          <a:p>
            <a:pPr marL="571500" lvl="1">
              <a:buFont typeface="Wingdings" panose="05000000000000000000" pitchFamily="2" charset="2"/>
              <a:buChar char="q"/>
            </a:pPr>
            <a:r>
              <a:rPr lang="fr-BE" dirty="0"/>
              <a:t>Principe de sécurité (confidentialité, intégrité et disponibilité</a:t>
            </a:r>
            <a:r>
              <a:rPr lang="fr-BE" dirty="0" smtClean="0"/>
              <a:t>) =&gt; ISO27000</a:t>
            </a:r>
            <a:endParaRPr lang="fr-BE" dirty="0"/>
          </a:p>
          <a:p>
            <a:pPr marL="571500" lvl="1">
              <a:buFont typeface="Wingdings" panose="05000000000000000000" pitchFamily="2" charset="2"/>
              <a:buChar char="q"/>
            </a:pPr>
            <a:r>
              <a:rPr lang="fr-BE" b="1" dirty="0"/>
              <a:t>Maintenir de registre : des traitements et d’incidents</a:t>
            </a:r>
          </a:p>
          <a:p>
            <a:pPr marL="571500" lvl="1">
              <a:buFont typeface="Wingdings" panose="05000000000000000000" pitchFamily="2" charset="2"/>
              <a:buChar char="q"/>
            </a:pPr>
            <a:r>
              <a:rPr lang="fr-BE" dirty="0"/>
              <a:t>Disposer des preuves de traitement sûrs et licites (Analyse risque, traçabilité,..)</a:t>
            </a:r>
          </a:p>
          <a:p>
            <a:pPr marL="571500" lvl="1">
              <a:buFont typeface="Wingdings" panose="05000000000000000000" pitchFamily="2" charset="2"/>
              <a:buChar char="q"/>
            </a:pPr>
            <a:r>
              <a:rPr lang="fr-BE" b="1" dirty="0"/>
              <a:t>Déclaration des incidents de sécurité dans les 72 h </a:t>
            </a:r>
            <a:endParaRPr lang="fr-BE" b="1" dirty="0" smtClean="0"/>
          </a:p>
          <a:p>
            <a:pPr marL="1028700" lvl="2">
              <a:buFont typeface="Wingdings" panose="05000000000000000000" pitchFamily="2" charset="2"/>
              <a:buChar char="q"/>
            </a:pPr>
            <a:r>
              <a:rPr lang="fr-BE" dirty="0"/>
              <a:t> </a:t>
            </a:r>
            <a:r>
              <a:rPr lang="fr-BE" dirty="0" smtClean="0"/>
              <a:t>autorités </a:t>
            </a:r>
            <a:r>
              <a:rPr lang="fr-BE" dirty="0"/>
              <a:t>et personnes </a:t>
            </a:r>
            <a:r>
              <a:rPr lang="fr-BE" dirty="0" smtClean="0"/>
              <a:t>concernées.</a:t>
            </a:r>
            <a:endParaRPr lang="fr-BE" dirty="0"/>
          </a:p>
        </p:txBody>
      </p:sp>
      <p:sp>
        <p:nvSpPr>
          <p:cNvPr id="6" name="ZoneTexte 5"/>
          <p:cNvSpPr txBox="1"/>
          <p:nvPr/>
        </p:nvSpPr>
        <p:spPr>
          <a:xfrm>
            <a:off x="1043608" y="4221088"/>
            <a:ext cx="612068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fr-BE" dirty="0"/>
              <a:t>La CPVP devint un organe de contrôle (de régulation et de sanction)</a:t>
            </a:r>
          </a:p>
          <a:p>
            <a:pPr marL="571500" lvl="1">
              <a:buFont typeface="Wingdings" panose="05000000000000000000" pitchFamily="2" charset="2"/>
              <a:buChar char="q"/>
            </a:pPr>
            <a:r>
              <a:rPr lang="fr-BE" dirty="0"/>
              <a:t>Plus de déclaration</a:t>
            </a:r>
          </a:p>
          <a:p>
            <a:pPr marL="571500" lvl="1">
              <a:buFont typeface="Wingdings" panose="05000000000000000000" pitchFamily="2" charset="2"/>
              <a:buChar char="q"/>
            </a:pPr>
            <a:r>
              <a:rPr lang="fr-BE" dirty="0"/>
              <a:t>Principe de sanction : 2% à 4% du Chiffre </a:t>
            </a:r>
            <a:r>
              <a:rPr lang="fr-BE" dirty="0" smtClean="0"/>
              <a:t>d’affaires</a:t>
            </a:r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2950903487"/>
      </p:ext>
    </p:extLst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smtClean="0"/>
              <a:t>GDPR – approche traitement :  processus &amp; données &amp; acteurs</a:t>
            </a:r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FE98F54-9420-4909-AC22-B52239C56BEB}" type="slidenum">
              <a:rPr lang="fr-BE" smtClean="0"/>
              <a:pPr>
                <a:defRPr/>
              </a:pPr>
              <a:t>6</a:t>
            </a:fld>
            <a:endParaRPr lang="fr-BE"/>
          </a:p>
        </p:txBody>
      </p:sp>
      <p:pic>
        <p:nvPicPr>
          <p:cNvPr id="6" name="Espace réservé du contenu 5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5936" y="4043439"/>
            <a:ext cx="3473612" cy="2235276"/>
          </a:xfrm>
        </p:spPr>
      </p:pic>
      <p:sp>
        <p:nvSpPr>
          <p:cNvPr id="7" name="ZoneTexte 6"/>
          <p:cNvSpPr txBox="1"/>
          <p:nvPr/>
        </p:nvSpPr>
        <p:spPr>
          <a:xfrm>
            <a:off x="3419872" y="980728"/>
            <a:ext cx="5544616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000" dirty="0" smtClean="0"/>
              <a:t>1</a:t>
            </a:r>
            <a:r>
              <a:rPr lang="fr-BE" sz="2000" baseline="30000" dirty="0" smtClean="0"/>
              <a:t>er</a:t>
            </a:r>
            <a:r>
              <a:rPr lang="fr-BE" sz="2000" dirty="0" smtClean="0"/>
              <a:t> message :</a:t>
            </a:r>
          </a:p>
          <a:p>
            <a:r>
              <a:rPr lang="fr-BE" sz="2000" dirty="0"/>
              <a:t>Ne pas réduire la GDPR au Juridique</a:t>
            </a:r>
          </a:p>
          <a:p>
            <a:r>
              <a:rPr lang="fr-BE" sz="2000" dirty="0" smtClean="0"/>
              <a:t>Ne </a:t>
            </a:r>
            <a:r>
              <a:rPr lang="fr-BE" sz="2000" dirty="0"/>
              <a:t>pas réduire la GDPR à </a:t>
            </a:r>
            <a:r>
              <a:rPr lang="fr-BE" sz="2000" dirty="0" smtClean="0"/>
              <a:t>l’informatique</a:t>
            </a:r>
          </a:p>
          <a:p>
            <a:r>
              <a:rPr lang="fr-BE" sz="2000" i="1" dirty="0" smtClean="0"/>
              <a:t>GDPR = responsabilité institutionnelle et une affaire de tous =&gt; d’où communication / sensibilisation</a:t>
            </a:r>
          </a:p>
        </p:txBody>
      </p:sp>
      <p:sp>
        <p:nvSpPr>
          <p:cNvPr id="3" name="ZoneTexte 2"/>
          <p:cNvSpPr txBox="1"/>
          <p:nvPr/>
        </p:nvSpPr>
        <p:spPr>
          <a:xfrm>
            <a:off x="3419872" y="2708920"/>
            <a:ext cx="518457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dirty="0"/>
              <a:t>2d message </a:t>
            </a:r>
            <a:r>
              <a:rPr lang="fr-BE" sz="2000" dirty="0"/>
              <a:t>:</a:t>
            </a:r>
            <a:r>
              <a:rPr lang="fr-BE" dirty="0"/>
              <a:t>« Deux mondes qui s’entremêlent »</a:t>
            </a:r>
          </a:p>
          <a:p>
            <a:r>
              <a:rPr lang="fr-BE" sz="2000" i="1" dirty="0"/>
              <a:t>Ne pas confondre protection des données </a:t>
            </a:r>
          </a:p>
          <a:p>
            <a:r>
              <a:rPr lang="fr-BE" sz="2000" i="1" dirty="0"/>
              <a:t>Et sécurité </a:t>
            </a:r>
            <a:r>
              <a:rPr lang="fr-BE" sz="2000" i="1" dirty="0" smtClean="0"/>
              <a:t>informatique</a:t>
            </a:r>
            <a:endParaRPr lang="fr-BE" sz="2000" i="1" dirty="0"/>
          </a:p>
        </p:txBody>
      </p:sp>
    </p:spTree>
    <p:extLst>
      <p:ext uri="{BB962C8B-B14F-4D97-AF65-F5344CB8AC3E}">
        <p14:creationId xmlns:p14="http://schemas.microsoft.com/office/powerpoint/2010/main" val="4042833472"/>
      </p:ext>
    </p:extLst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179511" y="107340"/>
            <a:ext cx="8560405" cy="369332"/>
          </a:xfrm>
        </p:spPr>
        <p:txBody>
          <a:bodyPr>
            <a:normAutofit fontScale="90000"/>
          </a:bodyPr>
          <a:lstStyle/>
          <a:p>
            <a:r>
              <a:rPr lang="fr-BE" sz="3200" dirty="0" smtClean="0"/>
              <a:t>GDPR : une évolution et non une révolution</a:t>
            </a:r>
            <a:endParaRPr lang="fr-BE" sz="3200" dirty="0"/>
          </a:p>
        </p:txBody>
      </p:sp>
      <p:pic>
        <p:nvPicPr>
          <p:cNvPr id="5" name="Espace réservé du contenu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651" y="3573016"/>
            <a:ext cx="5548265" cy="2880320"/>
          </a:xfrm>
        </p:spPr>
      </p:pic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fld id="{124B1DEC-761F-4490-8109-6788A699E875}" type="slidenum">
              <a:rPr lang="fr-BE" smtClean="0"/>
              <a:pPr>
                <a:defRPr/>
              </a:pPr>
              <a:t>7</a:t>
            </a:fld>
            <a:endParaRPr lang="fr-BE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620688"/>
            <a:ext cx="2064229" cy="309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4078" y="858028"/>
            <a:ext cx="2475839" cy="2859004"/>
          </a:xfrm>
          <a:prstGeom prst="rect">
            <a:avLst/>
          </a:prstGeom>
          <a:ln/>
          <a:ex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</p:pic>
      <p:sp>
        <p:nvSpPr>
          <p:cNvPr id="8" name="ZoneTexte 7"/>
          <p:cNvSpPr txBox="1"/>
          <p:nvPr/>
        </p:nvSpPr>
        <p:spPr>
          <a:xfrm>
            <a:off x="2555776" y="836418"/>
            <a:ext cx="3708301" cy="1200329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fr-BE" sz="2400" dirty="0"/>
              <a:t>Information System Security </a:t>
            </a:r>
            <a:endParaRPr lang="fr-BE" sz="2400" dirty="0" smtClean="0"/>
          </a:p>
          <a:p>
            <a:pPr algn="ctr"/>
            <a:r>
              <a:rPr lang="fr-BE" sz="2400" dirty="0" smtClean="0">
                <a:solidFill>
                  <a:srgbClr val="FF0000"/>
                </a:solidFill>
              </a:rPr>
              <a:t>Contenant Vs Contenu </a:t>
            </a:r>
          </a:p>
          <a:p>
            <a:pPr algn="ctr"/>
            <a:r>
              <a:rPr lang="fr-BE" sz="2400" dirty="0" err="1" smtClean="0"/>
              <a:t>Privacy</a:t>
            </a:r>
            <a:r>
              <a:rPr lang="fr-BE" sz="2400" dirty="0" smtClean="0"/>
              <a:t> Data Management</a:t>
            </a:r>
            <a:endParaRPr lang="fr-BE" sz="2400" dirty="0"/>
          </a:p>
        </p:txBody>
      </p:sp>
      <p:sp>
        <p:nvSpPr>
          <p:cNvPr id="10" name="ZoneTexte 9"/>
          <p:cNvSpPr txBox="1"/>
          <p:nvPr/>
        </p:nvSpPr>
        <p:spPr>
          <a:xfrm>
            <a:off x="2555776" y="2168860"/>
            <a:ext cx="3689226" cy="1200329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fr-BE" sz="2400" dirty="0" smtClean="0"/>
              <a:t>Travail complémentaire</a:t>
            </a:r>
          </a:p>
          <a:p>
            <a:pPr algn="ctr"/>
            <a:r>
              <a:rPr lang="fr-BE" sz="2400" dirty="0" smtClean="0"/>
              <a:t>Conseiller en Sécurité du SI</a:t>
            </a:r>
          </a:p>
          <a:p>
            <a:pPr algn="ctr"/>
            <a:r>
              <a:rPr lang="fr-BE" sz="2400" dirty="0" smtClean="0"/>
              <a:t>Data Protection </a:t>
            </a:r>
            <a:r>
              <a:rPr lang="fr-BE" sz="2400" dirty="0" err="1" smtClean="0"/>
              <a:t>Officer</a:t>
            </a:r>
            <a:endParaRPr lang="fr-BE" sz="2400" dirty="0"/>
          </a:p>
        </p:txBody>
      </p:sp>
    </p:spTree>
    <p:extLst>
      <p:ext uri="{BB962C8B-B14F-4D97-AF65-F5344CB8AC3E}">
        <p14:creationId xmlns:p14="http://schemas.microsoft.com/office/powerpoint/2010/main" val="3777638022"/>
      </p:ext>
    </p:extLst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2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347864" y="2276872"/>
            <a:ext cx="5338936" cy="2708434"/>
          </a:xfrm>
        </p:spPr>
        <p:txBody>
          <a:bodyPr/>
          <a:lstStyle/>
          <a:p>
            <a:r>
              <a:rPr lang="fr-BE" sz="4000" dirty="0" smtClean="0"/>
              <a:t>LA GDPR </a:t>
            </a:r>
          </a:p>
          <a:p>
            <a:r>
              <a:rPr lang="fr-BE" sz="4000" dirty="0" smtClean="0"/>
              <a:t>Connaître son système d’information…</a:t>
            </a:r>
          </a:p>
          <a:p>
            <a:r>
              <a:rPr lang="fr-BE" sz="4000" dirty="0" smtClean="0"/>
              <a:t>Le maîtriser…</a:t>
            </a:r>
            <a:endParaRPr lang="fr-BE" sz="40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FE98F54-9420-4909-AC22-B52239C56BEB}" type="slidenum">
              <a:rPr lang="fr-BE" smtClean="0"/>
              <a:pPr>
                <a:defRPr/>
              </a:pPr>
              <a:t>8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188497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275856" y="764704"/>
            <a:ext cx="5616624" cy="5404556"/>
          </a:xfrm>
        </p:spPr>
        <p:txBody>
          <a:bodyPr/>
          <a:lstStyle/>
          <a:p>
            <a:r>
              <a:rPr lang="fr-BE" sz="3200" dirty="0" smtClean="0"/>
              <a:t>LA GDPR – mettre les moyen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fr-BE" sz="2800" dirty="0" smtClean="0"/>
              <a:t>Connaître ses traitements</a:t>
            </a:r>
          </a:p>
          <a:p>
            <a:pPr lvl="1" indent="0">
              <a:buNone/>
            </a:pPr>
            <a:r>
              <a:rPr lang="fr-BE" sz="2800" dirty="0" smtClean="0"/>
              <a:t>Finalité : qui-quoi-comment-</a:t>
            </a:r>
            <a:r>
              <a:rPr lang="fr-BE" sz="2800" dirty="0" err="1" smtClean="0"/>
              <a:t>pq</a:t>
            </a:r>
            <a:r>
              <a:rPr lang="fr-BE" sz="2800" dirty="0" smtClean="0"/>
              <a:t> =&gt; approche </a:t>
            </a:r>
            <a:r>
              <a:rPr lang="fr-BE" sz="2800" dirty="0"/>
              <a:t>par Processus </a:t>
            </a:r>
            <a:r>
              <a:rPr lang="fr-BE" sz="2800" dirty="0" smtClean="0"/>
              <a:t>métier</a:t>
            </a:r>
          </a:p>
          <a:p>
            <a:pPr lvl="1" indent="0">
              <a:buNone/>
            </a:pPr>
            <a:r>
              <a:rPr lang="fr-BE" sz="2400" dirty="0" smtClean="0"/>
              <a:t>flux </a:t>
            </a:r>
            <a:r>
              <a:rPr lang="fr-BE" sz="2400" dirty="0"/>
              <a:t>de </a:t>
            </a:r>
            <a:r>
              <a:rPr lang="fr-BE" sz="2400" dirty="0" smtClean="0"/>
              <a:t>données/solutions/localisation</a:t>
            </a:r>
            <a:r>
              <a:rPr lang="fr-BE" sz="2800" dirty="0" smtClean="0"/>
              <a:t>.</a:t>
            </a:r>
            <a:endParaRPr lang="fr-BE" sz="2800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fr-BE" sz="2800" dirty="0" smtClean="0"/>
              <a:t>Protéger les données de manière adéquate et responsable (dans la durée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fr-BE" sz="2800" dirty="0" smtClean="0"/>
              <a:t>Apporter les preuves</a:t>
            </a:r>
          </a:p>
          <a:p>
            <a:pPr marL="857250" lvl="1" indent="-571500">
              <a:buFont typeface="Arial" panose="020B0604020202020204" pitchFamily="34" charset="0"/>
              <a:buChar char="•"/>
            </a:pPr>
            <a:r>
              <a:rPr lang="fr-BE" sz="2800" dirty="0" smtClean="0"/>
              <a:t>de cette bonne gestion</a:t>
            </a:r>
          </a:p>
          <a:p>
            <a:pPr marL="857250" lvl="1" indent="-571500">
              <a:buFont typeface="Arial" panose="020B0604020202020204" pitchFamily="34" charset="0"/>
              <a:buChar char="•"/>
            </a:pPr>
            <a:r>
              <a:rPr lang="fr-BE" sz="2800" dirty="0"/>
              <a:t>d</a:t>
            </a:r>
            <a:r>
              <a:rPr lang="fr-BE" sz="2800" dirty="0" smtClean="0"/>
              <a:t>’une utilisation responsable</a:t>
            </a:r>
            <a:endParaRPr lang="fr-BE" sz="28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FE98F54-9420-4909-AC22-B52239C56BEB}" type="slidenum">
              <a:rPr lang="fr-BE" smtClean="0"/>
              <a:pPr>
                <a:defRPr/>
              </a:pPr>
              <a:t>9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509558788"/>
      </p:ext>
    </p:extLst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1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h9z.eOdk.51H6aqKmiC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s6yCPo80.U9mk7SmUom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2Io_6LtLkCCTZBwGHvFF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LjeyMt.U2SawTTVOqu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7rphMFb0ujn5VGrTaGc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2Io_6LtLkCCTZBwGHvFF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8_6Yf1qiUaQD0c1x3nFt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8M53HnlYU.yur309JbIe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0Y1p2G31U6AQBksEtCQq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5X4nW56EyozOR0dp.Ok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hLpjF3LUylykpRpwQyAQ"/>
</p:tagLst>
</file>

<file path=ppt/theme/theme1.xml><?xml version="1.0" encoding="utf-8"?>
<a:theme xmlns:a="http://schemas.openxmlformats.org/drawingml/2006/main" name="saint-luc">
  <a:themeElements>
    <a:clrScheme name="General Template">
      <a:dk1>
        <a:srgbClr val="005CA9"/>
      </a:dk1>
      <a:lt1>
        <a:sysClr val="window" lastClr="FFFFFF"/>
      </a:lt1>
      <a:dk2>
        <a:srgbClr val="7F7F7F"/>
      </a:dk2>
      <a:lt2>
        <a:srgbClr val="FFFFFF"/>
      </a:lt2>
      <a:accent1>
        <a:srgbClr val="F2F2F2"/>
      </a:accent1>
      <a:accent2>
        <a:srgbClr val="C1E3FF"/>
      </a:accent2>
      <a:accent3>
        <a:srgbClr val="47ACFF"/>
      </a:accent3>
      <a:accent4>
        <a:srgbClr val="002A4C"/>
      </a:accent4>
      <a:accent5>
        <a:srgbClr val="5F5F5F"/>
      </a:accent5>
      <a:accent6>
        <a:srgbClr val="EAEAEA"/>
      </a:accent6>
      <a:hlink>
        <a:srgbClr val="DE007D"/>
      </a:hlink>
      <a:folHlink>
        <a:srgbClr val="FF6DC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solidFill>
            <a:schemeClr val="tx1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55</TotalTime>
  <Words>1183</Words>
  <Application>Microsoft Office PowerPoint</Application>
  <PresentationFormat>Affichage à l'écran (4:3)</PresentationFormat>
  <Paragraphs>274</Paragraphs>
  <Slides>26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6</vt:i4>
      </vt:variant>
    </vt:vector>
  </HeadingPairs>
  <TitlesOfParts>
    <vt:vector size="28" baseType="lpstr">
      <vt:lpstr>saint-luc</vt:lpstr>
      <vt:lpstr>think-cell Slide</vt:lpstr>
      <vt:lpstr>General Data Protection Regulation – GDPR  Généralité  Programme d’implémentation</vt:lpstr>
      <vt:lpstr>Présentation PowerPoint</vt:lpstr>
      <vt:lpstr>GDPR –  nouvelle réglementation… Pourquoi</vt:lpstr>
      <vt:lpstr>Evolution du cadre juridique</vt:lpstr>
      <vt:lpstr>GDPR –  La théorie en une slide …</vt:lpstr>
      <vt:lpstr>GDPR – approche traitement :  processus &amp; données &amp; acteurs</vt:lpstr>
      <vt:lpstr>GDPR : une évolution et non une révolution</vt:lpstr>
      <vt:lpstr>Présentation PowerPoint</vt:lpstr>
      <vt:lpstr>Présentation PowerPoint</vt:lpstr>
      <vt:lpstr>GDPR – Le système d’information peut être complexe</vt:lpstr>
      <vt:lpstr>Healhtcare Information System Complexity</vt:lpstr>
      <vt:lpstr>Présentation PowerPoint</vt:lpstr>
      <vt:lpstr>Saint-Luc sera  conforme GDPR si …</vt:lpstr>
      <vt:lpstr>Evolution de la protection des données : complémentarité des approches « sécurité » et « management » </vt:lpstr>
      <vt:lpstr>Programme Data Protection</vt:lpstr>
      <vt:lpstr>Certification Interne Confidentialité, Disponibilité, Intégrité, Preuve</vt:lpstr>
      <vt:lpstr>Quelques infos pratiques</vt:lpstr>
      <vt:lpstr>normes de référence choisies et adoptées </vt:lpstr>
      <vt:lpstr>normes volontaires, choisies et adoptées ISO/IEC 29100 - Privacy Framework</vt:lpstr>
      <vt:lpstr>La protection des données en fonction des usages </vt:lpstr>
      <vt:lpstr>Modèle d’exigences – mesures organisationnelles et techniques</vt:lpstr>
      <vt:lpstr>Présentation PowerPoint</vt:lpstr>
      <vt:lpstr>Présentation PowerPoint</vt:lpstr>
      <vt:lpstr>Présentation PowerPoint</vt:lpstr>
      <vt:lpstr>Conclusion</vt:lpstr>
      <vt:lpstr>CONCLUSION</vt:lpstr>
    </vt:vector>
  </TitlesOfParts>
  <Company>Cliniques Universitaires Saint-Luc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MOLLERS Géry</dc:creator>
  <cp:lastModifiedBy>MOLLERS Géry</cp:lastModifiedBy>
  <cp:revision>131</cp:revision>
  <cp:lastPrinted>2017-04-05T11:58:17Z</cp:lastPrinted>
  <dcterms:created xsi:type="dcterms:W3CDTF">2017-03-20T12:41:35Z</dcterms:created>
  <dcterms:modified xsi:type="dcterms:W3CDTF">2018-01-29T09:02:08Z</dcterms:modified>
</cp:coreProperties>
</file>